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Lst>
  <p:notesMasterIdLst>
    <p:notesMasterId r:id="rId35"/>
  </p:notesMasterIdLst>
  <p:handoutMasterIdLst>
    <p:handoutMasterId r:id="rId36"/>
  </p:handoutMasterIdLst>
  <p:sldIdLst>
    <p:sldId id="362" r:id="rId5"/>
    <p:sldId id="406" r:id="rId6"/>
    <p:sldId id="365" r:id="rId7"/>
    <p:sldId id="367" r:id="rId8"/>
    <p:sldId id="473" r:id="rId9"/>
    <p:sldId id="439" r:id="rId10"/>
    <p:sldId id="440" r:id="rId11"/>
    <p:sldId id="441" r:id="rId12"/>
    <p:sldId id="465" r:id="rId13"/>
    <p:sldId id="466" r:id="rId14"/>
    <p:sldId id="467" r:id="rId15"/>
    <p:sldId id="468" r:id="rId16"/>
    <p:sldId id="462" r:id="rId17"/>
    <p:sldId id="463" r:id="rId18"/>
    <p:sldId id="459" r:id="rId19"/>
    <p:sldId id="460" r:id="rId20"/>
    <p:sldId id="464" r:id="rId21"/>
    <p:sldId id="433" r:id="rId22"/>
    <p:sldId id="454" r:id="rId23"/>
    <p:sldId id="469" r:id="rId24"/>
    <p:sldId id="471" r:id="rId25"/>
    <p:sldId id="472" r:id="rId26"/>
    <p:sldId id="450" r:id="rId27"/>
    <p:sldId id="447" r:id="rId28"/>
    <p:sldId id="449" r:id="rId29"/>
    <p:sldId id="470" r:id="rId30"/>
    <p:sldId id="451" r:id="rId31"/>
    <p:sldId id="453" r:id="rId32"/>
    <p:sldId id="457" r:id="rId33"/>
    <p:sldId id="274" r:id="rId34"/>
  </p:sldIdLst>
  <p:sldSz cx="9144000" cy="6858000" type="screen4x3"/>
  <p:notesSz cx="6858000" cy="9144000"/>
  <p:defaultTextStyle>
    <a:defPPr>
      <a:defRPr lang="lt-L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389" userDrawn="1">
          <p15:clr>
            <a:srgbClr val="A4A3A4"/>
          </p15:clr>
        </p15:guide>
        <p15:guide id="5" orient="horz" pos="3929" userDrawn="1">
          <p15:clr>
            <a:srgbClr val="A4A3A4"/>
          </p15:clr>
        </p15:guide>
        <p15:guide id="6" pos="2880" userDrawn="1">
          <p15:clr>
            <a:srgbClr val="A4A3A4"/>
          </p15:clr>
        </p15:guide>
        <p15:guide id="7" pos="5284" userDrawn="1">
          <p15:clr>
            <a:srgbClr val="A4A3A4"/>
          </p15:clr>
        </p15:guide>
        <p15:guide id="8" pos="249"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AEC8B8D-C288-9FE9-F421-9BA25DAF3B2A}" name="Smart Continent" initials="SC" userId="Smart Continent"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ustas Jasevičius | Smart Continent" initials="JJ" lastIdx="15" clrIdx="0">
    <p:extLst>
      <p:ext uri="{19B8F6BF-5375-455C-9EA6-DF929625EA0E}">
        <p15:presenceInfo xmlns:p15="http://schemas.microsoft.com/office/powerpoint/2012/main" userId="Justas Jasevičius | Smart Continent" providerId="None"/>
      </p:ext>
    </p:extLst>
  </p:cmAuthor>
  <p:cmAuthor id="2" name="Modestas Pocius" initials="MP" lastIdx="45" clrIdx="1">
    <p:extLst>
      <p:ext uri="{19B8F6BF-5375-455C-9EA6-DF929625EA0E}">
        <p15:presenceInfo xmlns:p15="http://schemas.microsoft.com/office/powerpoint/2012/main" userId="S::modestas.pocius@tspmi.stud.vu.lt::3ce5803a-17e7-4826-be8f-aee72d8c55c2" providerId="AD"/>
      </p:ext>
    </p:extLst>
  </p:cmAuthor>
  <p:cmAuthor id="3" name="Sandra" initials="S" lastIdx="8" clrIdx="2"/>
  <p:cmAuthor id="4" name="Smart Continent" initials="SC" lastIdx="40" clrIdx="3">
    <p:extLst>
      <p:ext uri="{19B8F6BF-5375-455C-9EA6-DF929625EA0E}">
        <p15:presenceInfo xmlns:p15="http://schemas.microsoft.com/office/powerpoint/2012/main" userId="Smart Continent" providerId="None"/>
      </p:ext>
    </p:extLst>
  </p:cmAuthor>
  <p:cmAuthor id="5" name="Nausedienė Egidija | ŠMSM" initials="NE|Š" lastIdx="46" clrIdx="4">
    <p:extLst>
      <p:ext uri="{19B8F6BF-5375-455C-9EA6-DF929625EA0E}">
        <p15:presenceInfo xmlns:p15="http://schemas.microsoft.com/office/powerpoint/2012/main" userId="S-1-5-21-57989841-1060284298-1417001333-14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CCCC"/>
    <a:srgbClr val="D9D9D9"/>
    <a:srgbClr val="A3A3A3"/>
    <a:srgbClr val="FF9900"/>
    <a:srgbClr val="020B33"/>
    <a:srgbClr val="F7CF9C"/>
    <a:srgbClr val="0B7889"/>
    <a:srgbClr val="1C97AA"/>
    <a:srgbClr val="A4A4A4"/>
    <a:srgbClr val="F2CB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02E0918-CB4C-473C-890F-5EB0B8EA3410}" v="2" dt="2022-02-17T06:46:12.091"/>
    <p1510:client id="{F9DF37DA-6AE4-45A7-9D84-E819F2C2A6E2}" v="51" dt="2022-02-17T06:29:39.260"/>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9" d="100"/>
          <a:sy n="109" d="100"/>
        </p:scale>
        <p:origin x="1674" y="108"/>
      </p:cViewPr>
      <p:guideLst>
        <p:guide orient="horz" pos="1389"/>
        <p:guide orient="horz" pos="3929"/>
        <p:guide pos="2880"/>
        <p:guide pos="5284"/>
        <p:guide pos="249"/>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ntare Vitkauskaite" userId="fcee79df-4ed1-45d4-8c05-9b9f3354d122" providerId="ADAL" clId="{B02E0918-CB4C-473C-890F-5EB0B8EA3410}"/>
    <pc:docChg chg="modSld">
      <pc:chgData name="Gintare Vitkauskaite" userId="fcee79df-4ed1-45d4-8c05-9b9f3354d122" providerId="ADAL" clId="{B02E0918-CB4C-473C-890F-5EB0B8EA3410}" dt="2022-02-17T06:47:38.186" v="17" actId="6549"/>
      <pc:docMkLst>
        <pc:docMk/>
      </pc:docMkLst>
      <pc:sldChg chg="modNotesTx">
        <pc:chgData name="Gintare Vitkauskaite" userId="fcee79df-4ed1-45d4-8c05-9b9f3354d122" providerId="ADAL" clId="{B02E0918-CB4C-473C-890F-5EB0B8EA3410}" dt="2022-02-17T06:47:24.199" v="16" actId="6549"/>
        <pc:sldMkLst>
          <pc:docMk/>
          <pc:sldMk cId="1215038336" sldId="433"/>
        </pc:sldMkLst>
      </pc:sldChg>
      <pc:sldChg chg="modNotesTx">
        <pc:chgData name="Gintare Vitkauskaite" userId="fcee79df-4ed1-45d4-8c05-9b9f3354d122" providerId="ADAL" clId="{B02E0918-CB4C-473C-890F-5EB0B8EA3410}" dt="2022-02-17T06:46:29.722" v="4" actId="6549"/>
        <pc:sldMkLst>
          <pc:docMk/>
          <pc:sldMk cId="3941309698" sldId="439"/>
        </pc:sldMkLst>
      </pc:sldChg>
      <pc:sldChg chg="modNotesTx">
        <pc:chgData name="Gintare Vitkauskaite" userId="fcee79df-4ed1-45d4-8c05-9b9f3354d122" providerId="ADAL" clId="{B02E0918-CB4C-473C-890F-5EB0B8EA3410}" dt="2022-02-17T06:46:34.843" v="5" actId="6549"/>
        <pc:sldMkLst>
          <pc:docMk/>
          <pc:sldMk cId="1083499074" sldId="440"/>
        </pc:sldMkLst>
      </pc:sldChg>
      <pc:sldChg chg="modNotesTx">
        <pc:chgData name="Gintare Vitkauskaite" userId="fcee79df-4ed1-45d4-8c05-9b9f3354d122" providerId="ADAL" clId="{B02E0918-CB4C-473C-890F-5EB0B8EA3410}" dt="2022-02-17T06:46:38.960" v="6" actId="6549"/>
        <pc:sldMkLst>
          <pc:docMk/>
          <pc:sldMk cId="500580820" sldId="441"/>
        </pc:sldMkLst>
      </pc:sldChg>
      <pc:sldChg chg="modNotesTx">
        <pc:chgData name="Gintare Vitkauskaite" userId="fcee79df-4ed1-45d4-8c05-9b9f3354d122" providerId="ADAL" clId="{B02E0918-CB4C-473C-890F-5EB0B8EA3410}" dt="2022-02-17T06:47:38.186" v="17" actId="6549"/>
        <pc:sldMkLst>
          <pc:docMk/>
          <pc:sldMk cId="3935203784" sldId="454"/>
        </pc:sldMkLst>
      </pc:sldChg>
      <pc:sldChg chg="modNotesTx">
        <pc:chgData name="Gintare Vitkauskaite" userId="fcee79df-4ed1-45d4-8c05-9b9f3354d122" providerId="ADAL" clId="{B02E0918-CB4C-473C-890F-5EB0B8EA3410}" dt="2022-02-17T06:47:09.880" v="13" actId="6549"/>
        <pc:sldMkLst>
          <pc:docMk/>
          <pc:sldMk cId="3828611265" sldId="459"/>
        </pc:sldMkLst>
      </pc:sldChg>
      <pc:sldChg chg="modNotesTx">
        <pc:chgData name="Gintare Vitkauskaite" userId="fcee79df-4ed1-45d4-8c05-9b9f3354d122" providerId="ADAL" clId="{B02E0918-CB4C-473C-890F-5EB0B8EA3410}" dt="2022-02-17T06:47:14.308" v="14" actId="6549"/>
        <pc:sldMkLst>
          <pc:docMk/>
          <pc:sldMk cId="2570352800" sldId="460"/>
        </pc:sldMkLst>
      </pc:sldChg>
      <pc:sldChg chg="modNotesTx">
        <pc:chgData name="Gintare Vitkauskaite" userId="fcee79df-4ed1-45d4-8c05-9b9f3354d122" providerId="ADAL" clId="{B02E0918-CB4C-473C-890F-5EB0B8EA3410}" dt="2022-02-17T06:47:00.620" v="11" actId="6549"/>
        <pc:sldMkLst>
          <pc:docMk/>
          <pc:sldMk cId="4268286866" sldId="462"/>
        </pc:sldMkLst>
      </pc:sldChg>
      <pc:sldChg chg="modNotesTx">
        <pc:chgData name="Gintare Vitkauskaite" userId="fcee79df-4ed1-45d4-8c05-9b9f3354d122" providerId="ADAL" clId="{B02E0918-CB4C-473C-890F-5EB0B8EA3410}" dt="2022-02-17T06:47:05.657" v="12" actId="6549"/>
        <pc:sldMkLst>
          <pc:docMk/>
          <pc:sldMk cId="1860005955" sldId="463"/>
        </pc:sldMkLst>
      </pc:sldChg>
      <pc:sldChg chg="modNotesTx">
        <pc:chgData name="Gintare Vitkauskaite" userId="fcee79df-4ed1-45d4-8c05-9b9f3354d122" providerId="ADAL" clId="{B02E0918-CB4C-473C-890F-5EB0B8EA3410}" dt="2022-02-17T06:47:19.206" v="15" actId="6549"/>
        <pc:sldMkLst>
          <pc:docMk/>
          <pc:sldMk cId="1959652402" sldId="464"/>
        </pc:sldMkLst>
      </pc:sldChg>
      <pc:sldChg chg="modNotesTx">
        <pc:chgData name="Gintare Vitkauskaite" userId="fcee79df-4ed1-45d4-8c05-9b9f3354d122" providerId="ADAL" clId="{B02E0918-CB4C-473C-890F-5EB0B8EA3410}" dt="2022-02-17T06:46:43.640" v="7" actId="6549"/>
        <pc:sldMkLst>
          <pc:docMk/>
          <pc:sldMk cId="1153953872" sldId="465"/>
        </pc:sldMkLst>
      </pc:sldChg>
      <pc:sldChg chg="modNotesTx">
        <pc:chgData name="Gintare Vitkauskaite" userId="fcee79df-4ed1-45d4-8c05-9b9f3354d122" providerId="ADAL" clId="{B02E0918-CB4C-473C-890F-5EB0B8EA3410}" dt="2022-02-17T06:46:48.382" v="8" actId="6549"/>
        <pc:sldMkLst>
          <pc:docMk/>
          <pc:sldMk cId="193828604" sldId="466"/>
        </pc:sldMkLst>
      </pc:sldChg>
      <pc:sldChg chg="modNotesTx">
        <pc:chgData name="Gintare Vitkauskaite" userId="fcee79df-4ed1-45d4-8c05-9b9f3354d122" providerId="ADAL" clId="{B02E0918-CB4C-473C-890F-5EB0B8EA3410}" dt="2022-02-17T06:46:51.946" v="9" actId="6549"/>
        <pc:sldMkLst>
          <pc:docMk/>
          <pc:sldMk cId="968355729" sldId="467"/>
        </pc:sldMkLst>
      </pc:sldChg>
      <pc:sldChg chg="modNotesTx">
        <pc:chgData name="Gintare Vitkauskaite" userId="fcee79df-4ed1-45d4-8c05-9b9f3354d122" providerId="ADAL" clId="{B02E0918-CB4C-473C-890F-5EB0B8EA3410}" dt="2022-02-17T06:46:56.246" v="10" actId="6549"/>
        <pc:sldMkLst>
          <pc:docMk/>
          <pc:sldMk cId="3400783739" sldId="468"/>
        </pc:sldMkLst>
      </pc:sldChg>
      <pc:sldChg chg="modSp mod">
        <pc:chgData name="Gintare Vitkauskaite" userId="fcee79df-4ed1-45d4-8c05-9b9f3354d122" providerId="ADAL" clId="{B02E0918-CB4C-473C-890F-5EB0B8EA3410}" dt="2022-02-17T06:46:16.706" v="3" actId="114"/>
        <pc:sldMkLst>
          <pc:docMk/>
          <pc:sldMk cId="542612597" sldId="473"/>
        </pc:sldMkLst>
        <pc:graphicFrameChg chg="mod modGraphic">
          <ac:chgData name="Gintare Vitkauskaite" userId="fcee79df-4ed1-45d4-8c05-9b9f3354d122" providerId="ADAL" clId="{B02E0918-CB4C-473C-890F-5EB0B8EA3410}" dt="2022-02-17T06:46:16.706" v="3" actId="114"/>
          <ac:graphicFrameMkLst>
            <pc:docMk/>
            <pc:sldMk cId="542612597" sldId="473"/>
            <ac:graphicFrameMk id="5" creationId="{EAB3966B-163B-40FD-9277-DAA7C1911E65}"/>
          </ac:graphicFrameMkLst>
        </pc:graphicFrameChg>
      </pc:sldChg>
    </pc:docChg>
  </pc:docChgLst>
  <pc:docChgLst>
    <pc:chgData name="Gintare Vitkauskaite" userId="fcee79df-4ed1-45d4-8c05-9b9f3354d122" providerId="ADAL" clId="{6313438A-E452-410F-953B-6968086203D6}"/>
    <pc:docChg chg="undo redo custSel addSld delSld modSld">
      <pc:chgData name="Gintare Vitkauskaite" userId="fcee79df-4ed1-45d4-8c05-9b9f3354d122" providerId="ADAL" clId="{6313438A-E452-410F-953B-6968086203D6}" dt="2022-02-11T16:18:53.098" v="6038" actId="242"/>
      <pc:docMkLst>
        <pc:docMk/>
      </pc:docMkLst>
      <pc:sldChg chg="modSp del mod delCm">
        <pc:chgData name="Gintare Vitkauskaite" userId="fcee79df-4ed1-45d4-8c05-9b9f3354d122" providerId="ADAL" clId="{6313438A-E452-410F-953B-6968086203D6}" dt="2022-02-11T12:51:46.663" v="3576" actId="2696"/>
        <pc:sldMkLst>
          <pc:docMk/>
          <pc:sldMk cId="2900552097" sldId="303"/>
        </pc:sldMkLst>
        <pc:spChg chg="mod">
          <ac:chgData name="Gintare Vitkauskaite" userId="fcee79df-4ed1-45d4-8c05-9b9f3354d122" providerId="ADAL" clId="{6313438A-E452-410F-953B-6968086203D6}" dt="2022-02-11T12:49:04.089" v="3572" actId="404"/>
          <ac:spMkLst>
            <pc:docMk/>
            <pc:sldMk cId="2900552097" sldId="303"/>
            <ac:spMk id="7" creationId="{00000000-0000-0000-0000-000000000000}"/>
          </ac:spMkLst>
        </pc:spChg>
        <pc:spChg chg="mod">
          <ac:chgData name="Gintare Vitkauskaite" userId="fcee79df-4ed1-45d4-8c05-9b9f3354d122" providerId="ADAL" clId="{6313438A-E452-410F-953B-6968086203D6}" dt="2022-02-11T12:49:09.444" v="3574" actId="404"/>
          <ac:spMkLst>
            <pc:docMk/>
            <pc:sldMk cId="2900552097" sldId="303"/>
            <ac:spMk id="17" creationId="{00000000-0000-0000-0000-000000000000}"/>
          </ac:spMkLst>
        </pc:spChg>
      </pc:sldChg>
      <pc:sldChg chg="modSp mod">
        <pc:chgData name="Gintare Vitkauskaite" userId="fcee79df-4ed1-45d4-8c05-9b9f3354d122" providerId="ADAL" clId="{6313438A-E452-410F-953B-6968086203D6}" dt="2022-02-11T08:42:06.090" v="3" actId="123"/>
        <pc:sldMkLst>
          <pc:docMk/>
          <pc:sldMk cId="2381843795" sldId="362"/>
        </pc:sldMkLst>
        <pc:spChg chg="mod">
          <ac:chgData name="Gintare Vitkauskaite" userId="fcee79df-4ed1-45d4-8c05-9b9f3354d122" providerId="ADAL" clId="{6313438A-E452-410F-953B-6968086203D6}" dt="2022-02-11T08:42:06.090" v="3" actId="123"/>
          <ac:spMkLst>
            <pc:docMk/>
            <pc:sldMk cId="2381843795" sldId="362"/>
            <ac:spMk id="3" creationId="{00000000-0000-0000-0000-000000000000}"/>
          </ac:spMkLst>
        </pc:spChg>
        <pc:spChg chg="mod">
          <ac:chgData name="Gintare Vitkauskaite" userId="fcee79df-4ed1-45d4-8c05-9b9f3354d122" providerId="ADAL" clId="{6313438A-E452-410F-953B-6968086203D6}" dt="2022-02-11T08:42:01.860" v="2" actId="108"/>
          <ac:spMkLst>
            <pc:docMk/>
            <pc:sldMk cId="2381843795" sldId="362"/>
            <ac:spMk id="4" creationId="{00000000-0000-0000-0000-000000000000}"/>
          </ac:spMkLst>
        </pc:spChg>
      </pc:sldChg>
      <pc:sldChg chg="addSp delSp modSp mod">
        <pc:chgData name="Gintare Vitkauskaite" userId="fcee79df-4ed1-45d4-8c05-9b9f3354d122" providerId="ADAL" clId="{6313438A-E452-410F-953B-6968086203D6}" dt="2022-02-11T08:51:11.952" v="176" actId="1036"/>
        <pc:sldMkLst>
          <pc:docMk/>
          <pc:sldMk cId="2969992210" sldId="365"/>
        </pc:sldMkLst>
        <pc:spChg chg="add mod">
          <ac:chgData name="Gintare Vitkauskaite" userId="fcee79df-4ed1-45d4-8c05-9b9f3354d122" providerId="ADAL" clId="{6313438A-E452-410F-953B-6968086203D6}" dt="2022-02-11T08:46:59.609" v="80" actId="20577"/>
          <ac:spMkLst>
            <pc:docMk/>
            <pc:sldMk cId="2969992210" sldId="365"/>
            <ac:spMk id="14" creationId="{D98C4978-88CB-4F72-9046-EF240B62D1F2}"/>
          </ac:spMkLst>
        </pc:spChg>
        <pc:spChg chg="del">
          <ac:chgData name="Gintare Vitkauskaite" userId="fcee79df-4ed1-45d4-8c05-9b9f3354d122" providerId="ADAL" clId="{6313438A-E452-410F-953B-6968086203D6}" dt="2022-02-11T08:46:48.466" v="69" actId="478"/>
          <ac:spMkLst>
            <pc:docMk/>
            <pc:sldMk cId="2969992210" sldId="365"/>
            <ac:spMk id="16" creationId="{20C2A5D9-EF92-48A1-8344-A9D3FC798008}"/>
          </ac:spMkLst>
        </pc:spChg>
        <pc:spChg chg="mod">
          <ac:chgData name="Gintare Vitkauskaite" userId="fcee79df-4ed1-45d4-8c05-9b9f3354d122" providerId="ADAL" clId="{6313438A-E452-410F-953B-6968086203D6}" dt="2022-02-11T08:51:11.952" v="176" actId="1036"/>
          <ac:spMkLst>
            <pc:docMk/>
            <pc:sldMk cId="2969992210" sldId="365"/>
            <ac:spMk id="39" creationId="{38C81FBF-1E04-4C2E-B998-742C5B4E070F}"/>
          </ac:spMkLst>
        </pc:spChg>
        <pc:spChg chg="mod">
          <ac:chgData name="Gintare Vitkauskaite" userId="fcee79df-4ed1-45d4-8c05-9b9f3354d122" providerId="ADAL" clId="{6313438A-E452-410F-953B-6968086203D6}" dt="2022-02-11T08:51:11.952" v="176" actId="1036"/>
          <ac:spMkLst>
            <pc:docMk/>
            <pc:sldMk cId="2969992210" sldId="365"/>
            <ac:spMk id="40" creationId="{EB2F890F-C7DC-48F7-BEF6-5AD7A536FA64}"/>
          </ac:spMkLst>
        </pc:spChg>
        <pc:spChg chg="mod">
          <ac:chgData name="Gintare Vitkauskaite" userId="fcee79df-4ed1-45d4-8c05-9b9f3354d122" providerId="ADAL" clId="{6313438A-E452-410F-953B-6968086203D6}" dt="2022-02-11T08:51:11.952" v="176" actId="1036"/>
          <ac:spMkLst>
            <pc:docMk/>
            <pc:sldMk cId="2969992210" sldId="365"/>
            <ac:spMk id="43" creationId="{8E57DEA4-E290-44A1-9C3A-9CA760C11626}"/>
          </ac:spMkLst>
        </pc:spChg>
        <pc:spChg chg="mod">
          <ac:chgData name="Gintare Vitkauskaite" userId="fcee79df-4ed1-45d4-8c05-9b9f3354d122" providerId="ADAL" clId="{6313438A-E452-410F-953B-6968086203D6}" dt="2022-02-11T08:51:11.952" v="176" actId="1036"/>
          <ac:spMkLst>
            <pc:docMk/>
            <pc:sldMk cId="2969992210" sldId="365"/>
            <ac:spMk id="47" creationId="{32D394B3-A6D3-4E86-8E78-8CFD13DB1509}"/>
          </ac:spMkLst>
        </pc:spChg>
        <pc:spChg chg="mod">
          <ac:chgData name="Gintare Vitkauskaite" userId="fcee79df-4ed1-45d4-8c05-9b9f3354d122" providerId="ADAL" clId="{6313438A-E452-410F-953B-6968086203D6}" dt="2022-02-11T08:51:11.952" v="176" actId="1036"/>
          <ac:spMkLst>
            <pc:docMk/>
            <pc:sldMk cId="2969992210" sldId="365"/>
            <ac:spMk id="52" creationId="{1B1EAE41-6B39-4A75-BCFF-AFB31150B53B}"/>
          </ac:spMkLst>
        </pc:spChg>
        <pc:spChg chg="mod">
          <ac:chgData name="Gintare Vitkauskaite" userId="fcee79df-4ed1-45d4-8c05-9b9f3354d122" providerId="ADAL" clId="{6313438A-E452-410F-953B-6968086203D6}" dt="2022-02-11T08:51:11.952" v="176" actId="1036"/>
          <ac:spMkLst>
            <pc:docMk/>
            <pc:sldMk cId="2969992210" sldId="365"/>
            <ac:spMk id="53" creationId="{2D826C49-4AA6-4E2E-99FE-94C3ACD4923F}"/>
          </ac:spMkLst>
        </pc:spChg>
        <pc:spChg chg="mod">
          <ac:chgData name="Gintare Vitkauskaite" userId="fcee79df-4ed1-45d4-8c05-9b9f3354d122" providerId="ADAL" clId="{6313438A-E452-410F-953B-6968086203D6}" dt="2022-02-11T08:51:11.952" v="176" actId="1036"/>
          <ac:spMkLst>
            <pc:docMk/>
            <pc:sldMk cId="2969992210" sldId="365"/>
            <ac:spMk id="54" creationId="{EAE79DE4-BE72-406A-BC78-D4584E3FFA35}"/>
          </ac:spMkLst>
        </pc:spChg>
        <pc:spChg chg="mod">
          <ac:chgData name="Gintare Vitkauskaite" userId="fcee79df-4ed1-45d4-8c05-9b9f3354d122" providerId="ADAL" clId="{6313438A-E452-410F-953B-6968086203D6}" dt="2022-02-11T08:51:11.952" v="176" actId="1036"/>
          <ac:spMkLst>
            <pc:docMk/>
            <pc:sldMk cId="2969992210" sldId="365"/>
            <ac:spMk id="55" creationId="{01658474-2E22-4865-8235-D5079346D8D7}"/>
          </ac:spMkLst>
        </pc:spChg>
        <pc:spChg chg="mod">
          <ac:chgData name="Gintare Vitkauskaite" userId="fcee79df-4ed1-45d4-8c05-9b9f3354d122" providerId="ADAL" clId="{6313438A-E452-410F-953B-6968086203D6}" dt="2022-02-11T08:51:11.952" v="176" actId="1036"/>
          <ac:spMkLst>
            <pc:docMk/>
            <pc:sldMk cId="2969992210" sldId="365"/>
            <ac:spMk id="56" creationId="{1D951BB4-4ED4-4A7D-A31D-A2CC4FE35E37}"/>
          </ac:spMkLst>
        </pc:spChg>
        <pc:spChg chg="mod">
          <ac:chgData name="Gintare Vitkauskaite" userId="fcee79df-4ed1-45d4-8c05-9b9f3354d122" providerId="ADAL" clId="{6313438A-E452-410F-953B-6968086203D6}" dt="2022-02-11T08:50:53.587" v="161" actId="1036"/>
          <ac:spMkLst>
            <pc:docMk/>
            <pc:sldMk cId="2969992210" sldId="365"/>
            <ac:spMk id="59" creationId="{B14BE4FD-12B4-4A41-8A8D-DDF46238DAE4}"/>
          </ac:spMkLst>
        </pc:spChg>
        <pc:spChg chg="mod">
          <ac:chgData name="Gintare Vitkauskaite" userId="fcee79df-4ed1-45d4-8c05-9b9f3354d122" providerId="ADAL" clId="{6313438A-E452-410F-953B-6968086203D6}" dt="2022-02-11T08:50:26.788" v="150" actId="207"/>
          <ac:spMkLst>
            <pc:docMk/>
            <pc:sldMk cId="2969992210" sldId="365"/>
            <ac:spMk id="60" creationId="{2AC97D6B-0690-4A41-B111-6B17C6DA9F9C}"/>
          </ac:spMkLst>
        </pc:spChg>
      </pc:sldChg>
      <pc:sldChg chg="addSp delSp modSp mod">
        <pc:chgData name="Gintare Vitkauskaite" userId="fcee79df-4ed1-45d4-8c05-9b9f3354d122" providerId="ADAL" clId="{6313438A-E452-410F-953B-6968086203D6}" dt="2022-02-11T08:59:55.146" v="446" actId="1076"/>
        <pc:sldMkLst>
          <pc:docMk/>
          <pc:sldMk cId="485910152" sldId="367"/>
        </pc:sldMkLst>
        <pc:spChg chg="add mod">
          <ac:chgData name="Gintare Vitkauskaite" userId="fcee79df-4ed1-45d4-8c05-9b9f3354d122" providerId="ADAL" clId="{6313438A-E452-410F-953B-6968086203D6}" dt="2022-02-11T08:59:29.696" v="438" actId="14100"/>
          <ac:spMkLst>
            <pc:docMk/>
            <pc:sldMk cId="485910152" sldId="367"/>
            <ac:spMk id="3" creationId="{5A1D4418-DFD9-4B6B-AE9F-87196A94BE0C}"/>
          </ac:spMkLst>
        </pc:spChg>
        <pc:spChg chg="mod">
          <ac:chgData name="Gintare Vitkauskaite" userId="fcee79df-4ed1-45d4-8c05-9b9f3354d122" providerId="ADAL" clId="{6313438A-E452-410F-953B-6968086203D6}" dt="2022-02-11T08:55:21.713" v="210" actId="1035"/>
          <ac:spMkLst>
            <pc:docMk/>
            <pc:sldMk cId="485910152" sldId="367"/>
            <ac:spMk id="14" creationId="{DFC8EAFC-6AC3-4D24-BF79-F6C014B2138F}"/>
          </ac:spMkLst>
        </pc:spChg>
        <pc:spChg chg="mod">
          <ac:chgData name="Gintare Vitkauskaite" userId="fcee79df-4ed1-45d4-8c05-9b9f3354d122" providerId="ADAL" clId="{6313438A-E452-410F-953B-6968086203D6}" dt="2022-02-11T08:55:21.713" v="210" actId="1035"/>
          <ac:spMkLst>
            <pc:docMk/>
            <pc:sldMk cId="485910152" sldId="367"/>
            <ac:spMk id="15" creationId="{35304EFD-0E53-4ECC-ACC4-C38B7A5CEFCA}"/>
          </ac:spMkLst>
        </pc:spChg>
        <pc:spChg chg="mod">
          <ac:chgData name="Gintare Vitkauskaite" userId="fcee79df-4ed1-45d4-8c05-9b9f3354d122" providerId="ADAL" clId="{6313438A-E452-410F-953B-6968086203D6}" dt="2022-02-11T08:58:07.466" v="303" actId="1582"/>
          <ac:spMkLst>
            <pc:docMk/>
            <pc:sldMk cId="485910152" sldId="367"/>
            <ac:spMk id="16" creationId="{0A17E152-0730-49B3-8A4D-DC66617A3507}"/>
          </ac:spMkLst>
        </pc:spChg>
        <pc:spChg chg="mod">
          <ac:chgData name="Gintare Vitkauskaite" userId="fcee79df-4ed1-45d4-8c05-9b9f3354d122" providerId="ADAL" clId="{6313438A-E452-410F-953B-6968086203D6}" dt="2022-02-11T08:55:21.713" v="210" actId="1035"/>
          <ac:spMkLst>
            <pc:docMk/>
            <pc:sldMk cId="485910152" sldId="367"/>
            <ac:spMk id="17" creationId="{C39EB42C-2B5E-4751-BAF8-DB02B2A8668C}"/>
          </ac:spMkLst>
        </pc:spChg>
        <pc:spChg chg="mod">
          <ac:chgData name="Gintare Vitkauskaite" userId="fcee79df-4ed1-45d4-8c05-9b9f3354d122" providerId="ADAL" clId="{6313438A-E452-410F-953B-6968086203D6}" dt="2022-02-11T08:58:07.466" v="303" actId="1582"/>
          <ac:spMkLst>
            <pc:docMk/>
            <pc:sldMk cId="485910152" sldId="367"/>
            <ac:spMk id="18" creationId="{4F0B9587-7D1E-4A90-8073-6D81EAE81906}"/>
          </ac:spMkLst>
        </pc:spChg>
        <pc:spChg chg="mod">
          <ac:chgData name="Gintare Vitkauskaite" userId="fcee79df-4ed1-45d4-8c05-9b9f3354d122" providerId="ADAL" clId="{6313438A-E452-410F-953B-6968086203D6}" dt="2022-02-11T08:55:21.713" v="210" actId="1035"/>
          <ac:spMkLst>
            <pc:docMk/>
            <pc:sldMk cId="485910152" sldId="367"/>
            <ac:spMk id="19" creationId="{6E80D752-FFDE-47F6-B91B-D7CE1D4F59B8}"/>
          </ac:spMkLst>
        </pc:spChg>
        <pc:spChg chg="mod">
          <ac:chgData name="Gintare Vitkauskaite" userId="fcee79df-4ed1-45d4-8c05-9b9f3354d122" providerId="ADAL" clId="{6313438A-E452-410F-953B-6968086203D6}" dt="2022-02-11T08:58:07.466" v="303" actId="1582"/>
          <ac:spMkLst>
            <pc:docMk/>
            <pc:sldMk cId="485910152" sldId="367"/>
            <ac:spMk id="20" creationId="{87A6E830-FF54-4AED-BDCF-8C24EB8B983D}"/>
          </ac:spMkLst>
        </pc:spChg>
        <pc:spChg chg="add mod">
          <ac:chgData name="Gintare Vitkauskaite" userId="fcee79df-4ed1-45d4-8c05-9b9f3354d122" providerId="ADAL" clId="{6313438A-E452-410F-953B-6968086203D6}" dt="2022-02-11T08:59:46.636" v="443" actId="20577"/>
          <ac:spMkLst>
            <pc:docMk/>
            <pc:sldMk cId="485910152" sldId="367"/>
            <ac:spMk id="21" creationId="{15DF610F-14AF-40A5-AA4B-D3C950C38F45}"/>
          </ac:spMkLst>
        </pc:spChg>
        <pc:spChg chg="add del mod">
          <ac:chgData name="Gintare Vitkauskaite" userId="fcee79df-4ed1-45d4-8c05-9b9f3354d122" providerId="ADAL" clId="{6313438A-E452-410F-953B-6968086203D6}" dt="2022-02-11T08:59:12.207" v="435" actId="478"/>
          <ac:spMkLst>
            <pc:docMk/>
            <pc:sldMk cId="485910152" sldId="367"/>
            <ac:spMk id="22" creationId="{625C679B-22F1-46F5-9A03-F1A9CFE9F647}"/>
          </ac:spMkLst>
        </pc:spChg>
        <pc:spChg chg="add mod">
          <ac:chgData name="Gintare Vitkauskaite" userId="fcee79df-4ed1-45d4-8c05-9b9f3354d122" providerId="ADAL" clId="{6313438A-E452-410F-953B-6968086203D6}" dt="2022-02-11T08:59:55.146" v="446" actId="1076"/>
          <ac:spMkLst>
            <pc:docMk/>
            <pc:sldMk cId="485910152" sldId="367"/>
            <ac:spMk id="23" creationId="{906C6672-D592-4746-A23F-B42E7BEE97AA}"/>
          </ac:spMkLst>
        </pc:spChg>
        <pc:spChg chg="mod">
          <ac:chgData name="Gintare Vitkauskaite" userId="fcee79df-4ed1-45d4-8c05-9b9f3354d122" providerId="ADAL" clId="{6313438A-E452-410F-953B-6968086203D6}" dt="2022-02-11T08:55:21.713" v="210" actId="1035"/>
          <ac:spMkLst>
            <pc:docMk/>
            <pc:sldMk cId="485910152" sldId="367"/>
            <ac:spMk id="25" creationId="{A7C46047-781A-45F5-9528-088ECAA4CABC}"/>
          </ac:spMkLst>
        </pc:spChg>
        <pc:spChg chg="mod">
          <ac:chgData name="Gintare Vitkauskaite" userId="fcee79df-4ed1-45d4-8c05-9b9f3354d122" providerId="ADAL" clId="{6313438A-E452-410F-953B-6968086203D6}" dt="2022-02-11T08:55:21.713" v="210" actId="1035"/>
          <ac:spMkLst>
            <pc:docMk/>
            <pc:sldMk cId="485910152" sldId="367"/>
            <ac:spMk id="27" creationId="{3CA6DA53-023E-4B51-8FC8-53F1AB0E5BB9}"/>
          </ac:spMkLst>
        </pc:spChg>
        <pc:spChg chg="mod">
          <ac:chgData name="Gintare Vitkauskaite" userId="fcee79df-4ed1-45d4-8c05-9b9f3354d122" providerId="ADAL" clId="{6313438A-E452-410F-953B-6968086203D6}" dt="2022-02-11T08:55:21.713" v="210" actId="1035"/>
          <ac:spMkLst>
            <pc:docMk/>
            <pc:sldMk cId="485910152" sldId="367"/>
            <ac:spMk id="30" creationId="{21A7676A-A2EA-475E-8DEC-8D55564E3ABC}"/>
          </ac:spMkLst>
        </pc:spChg>
        <pc:spChg chg="mod">
          <ac:chgData name="Gintare Vitkauskaite" userId="fcee79df-4ed1-45d4-8c05-9b9f3354d122" providerId="ADAL" clId="{6313438A-E452-410F-953B-6968086203D6}" dt="2022-02-11T08:58:07.466" v="303" actId="1582"/>
          <ac:spMkLst>
            <pc:docMk/>
            <pc:sldMk cId="485910152" sldId="367"/>
            <ac:spMk id="31" creationId="{F152A163-53F9-4C33-A82A-EDC7CCA960A3}"/>
          </ac:spMkLst>
        </pc:spChg>
        <pc:spChg chg="mod">
          <ac:chgData name="Gintare Vitkauskaite" userId="fcee79df-4ed1-45d4-8c05-9b9f3354d122" providerId="ADAL" clId="{6313438A-E452-410F-953B-6968086203D6}" dt="2022-02-11T08:55:21.713" v="210" actId="1035"/>
          <ac:spMkLst>
            <pc:docMk/>
            <pc:sldMk cId="485910152" sldId="367"/>
            <ac:spMk id="32" creationId="{00C40385-F094-41C5-9479-CBA336394E3A}"/>
          </ac:spMkLst>
        </pc:spChg>
      </pc:sldChg>
      <pc:sldChg chg="modSp del mod delCm">
        <pc:chgData name="Gintare Vitkauskaite" userId="fcee79df-4ed1-45d4-8c05-9b9f3354d122" providerId="ADAL" clId="{6313438A-E452-410F-953B-6968086203D6}" dt="2022-02-11T15:51:57.117" v="5909" actId="47"/>
        <pc:sldMkLst>
          <pc:docMk/>
          <pc:sldMk cId="1027685287" sldId="377"/>
        </pc:sldMkLst>
        <pc:graphicFrameChg chg="modGraphic">
          <ac:chgData name="Gintare Vitkauskaite" userId="fcee79df-4ed1-45d4-8c05-9b9f3354d122" providerId="ADAL" clId="{6313438A-E452-410F-953B-6968086203D6}" dt="2022-02-11T15:39:25.983" v="5725" actId="14734"/>
          <ac:graphicFrameMkLst>
            <pc:docMk/>
            <pc:sldMk cId="1027685287" sldId="377"/>
            <ac:graphicFrameMk id="3" creationId="{B4DC0941-E7A6-4449-BA2B-4E796BBF002C}"/>
          </ac:graphicFrameMkLst>
        </pc:graphicFrameChg>
      </pc:sldChg>
      <pc:sldChg chg="addSp delSp modSp mod">
        <pc:chgData name="Gintare Vitkauskaite" userId="fcee79df-4ed1-45d4-8c05-9b9f3354d122" providerId="ADAL" clId="{6313438A-E452-410F-953B-6968086203D6}" dt="2022-02-11T08:46:23.011" v="68" actId="465"/>
        <pc:sldMkLst>
          <pc:docMk/>
          <pc:sldMk cId="2201633665" sldId="406"/>
        </pc:sldMkLst>
        <pc:spChg chg="del">
          <ac:chgData name="Gintare Vitkauskaite" userId="fcee79df-4ed1-45d4-8c05-9b9f3354d122" providerId="ADAL" clId="{6313438A-E452-410F-953B-6968086203D6}" dt="2022-02-11T08:42:53.032" v="19" actId="478"/>
          <ac:spMkLst>
            <pc:docMk/>
            <pc:sldMk cId="2201633665" sldId="406"/>
            <ac:spMk id="12" creationId="{CB275E21-4F48-4DCE-8B44-DBD7E22815F5}"/>
          </ac:spMkLst>
        </pc:spChg>
        <pc:spChg chg="mod">
          <ac:chgData name="Gintare Vitkauskaite" userId="fcee79df-4ed1-45d4-8c05-9b9f3354d122" providerId="ADAL" clId="{6313438A-E452-410F-953B-6968086203D6}" dt="2022-02-11T08:45:30.490" v="63" actId="255"/>
          <ac:spMkLst>
            <pc:docMk/>
            <pc:sldMk cId="2201633665" sldId="406"/>
            <ac:spMk id="20" creationId="{09C4EFAC-A4B2-49EC-94ED-A1A510ADBE3A}"/>
          </ac:spMkLst>
        </pc:spChg>
        <pc:spChg chg="mod">
          <ac:chgData name="Gintare Vitkauskaite" userId="fcee79df-4ed1-45d4-8c05-9b9f3354d122" providerId="ADAL" clId="{6313438A-E452-410F-953B-6968086203D6}" dt="2022-02-11T08:46:21.074" v="67" actId="552"/>
          <ac:spMkLst>
            <pc:docMk/>
            <pc:sldMk cId="2201633665" sldId="406"/>
            <ac:spMk id="21" creationId="{84D41F54-52B8-40D7-8F9B-2A3F6B9EA7D9}"/>
          </ac:spMkLst>
        </pc:spChg>
        <pc:spChg chg="add mod">
          <ac:chgData name="Gintare Vitkauskaite" userId="fcee79df-4ed1-45d4-8c05-9b9f3354d122" providerId="ADAL" clId="{6313438A-E452-410F-953B-6968086203D6}" dt="2022-02-11T08:43:16.870" v="29" actId="20577"/>
          <ac:spMkLst>
            <pc:docMk/>
            <pc:sldMk cId="2201633665" sldId="406"/>
            <ac:spMk id="22" creationId="{7BF80FA0-FC72-4F79-800B-8CB8467C12DC}"/>
          </ac:spMkLst>
        </pc:spChg>
        <pc:spChg chg="mod topLvl">
          <ac:chgData name="Gintare Vitkauskaite" userId="fcee79df-4ed1-45d4-8c05-9b9f3354d122" providerId="ADAL" clId="{6313438A-E452-410F-953B-6968086203D6}" dt="2022-02-11T08:45:40.160" v="64" actId="165"/>
          <ac:spMkLst>
            <pc:docMk/>
            <pc:sldMk cId="2201633665" sldId="406"/>
            <ac:spMk id="38" creationId="{CE778F19-9973-4789-8210-501FEA8641BC}"/>
          </ac:spMkLst>
        </pc:spChg>
        <pc:spChg chg="mod topLvl">
          <ac:chgData name="Gintare Vitkauskaite" userId="fcee79df-4ed1-45d4-8c05-9b9f3354d122" providerId="ADAL" clId="{6313438A-E452-410F-953B-6968086203D6}" dt="2022-02-11T08:46:23.011" v="68" actId="465"/>
          <ac:spMkLst>
            <pc:docMk/>
            <pc:sldMk cId="2201633665" sldId="406"/>
            <ac:spMk id="39" creationId="{65E4ECB0-6DD4-4DB9-A648-CF5A7E48DDA3}"/>
          </ac:spMkLst>
        </pc:spChg>
        <pc:spChg chg="mod topLvl">
          <ac:chgData name="Gintare Vitkauskaite" userId="fcee79df-4ed1-45d4-8c05-9b9f3354d122" providerId="ADAL" clId="{6313438A-E452-410F-953B-6968086203D6}" dt="2022-02-11T08:45:40.160" v="64" actId="165"/>
          <ac:spMkLst>
            <pc:docMk/>
            <pc:sldMk cId="2201633665" sldId="406"/>
            <ac:spMk id="40" creationId="{7A4F7596-014D-4FEF-AF47-6E163A37FE3C}"/>
          </ac:spMkLst>
        </pc:spChg>
        <pc:spChg chg="mod topLvl">
          <ac:chgData name="Gintare Vitkauskaite" userId="fcee79df-4ed1-45d4-8c05-9b9f3354d122" providerId="ADAL" clId="{6313438A-E452-410F-953B-6968086203D6}" dt="2022-02-11T08:46:23.011" v="68" actId="465"/>
          <ac:spMkLst>
            <pc:docMk/>
            <pc:sldMk cId="2201633665" sldId="406"/>
            <ac:spMk id="41" creationId="{00F32C2A-6E60-4126-8B0B-34C9C71E4591}"/>
          </ac:spMkLst>
        </pc:spChg>
        <pc:spChg chg="mod topLvl">
          <ac:chgData name="Gintare Vitkauskaite" userId="fcee79df-4ed1-45d4-8c05-9b9f3354d122" providerId="ADAL" clId="{6313438A-E452-410F-953B-6968086203D6}" dt="2022-02-11T08:45:40.160" v="64" actId="165"/>
          <ac:spMkLst>
            <pc:docMk/>
            <pc:sldMk cId="2201633665" sldId="406"/>
            <ac:spMk id="42" creationId="{A9DE21E8-28C0-41CD-8F6B-AA3F5396D37D}"/>
          </ac:spMkLst>
        </pc:spChg>
        <pc:spChg chg="mod topLvl">
          <ac:chgData name="Gintare Vitkauskaite" userId="fcee79df-4ed1-45d4-8c05-9b9f3354d122" providerId="ADAL" clId="{6313438A-E452-410F-953B-6968086203D6}" dt="2022-02-11T08:46:23.011" v="68" actId="465"/>
          <ac:spMkLst>
            <pc:docMk/>
            <pc:sldMk cId="2201633665" sldId="406"/>
            <ac:spMk id="43" creationId="{8DAE5641-2686-4C2F-9D6C-1E4E8AA504D4}"/>
          </ac:spMkLst>
        </pc:spChg>
        <pc:spChg chg="mod topLvl">
          <ac:chgData name="Gintare Vitkauskaite" userId="fcee79df-4ed1-45d4-8c05-9b9f3354d122" providerId="ADAL" clId="{6313438A-E452-410F-953B-6968086203D6}" dt="2022-02-11T08:45:56.502" v="65" actId="165"/>
          <ac:spMkLst>
            <pc:docMk/>
            <pc:sldMk cId="2201633665" sldId="406"/>
            <ac:spMk id="44" creationId="{1CE5F035-5EF9-4C2B-A122-415CDBC76807}"/>
          </ac:spMkLst>
        </pc:spChg>
        <pc:spChg chg="mod topLvl">
          <ac:chgData name="Gintare Vitkauskaite" userId="fcee79df-4ed1-45d4-8c05-9b9f3354d122" providerId="ADAL" clId="{6313438A-E452-410F-953B-6968086203D6}" dt="2022-02-11T08:45:56.502" v="65" actId="165"/>
          <ac:spMkLst>
            <pc:docMk/>
            <pc:sldMk cId="2201633665" sldId="406"/>
            <ac:spMk id="45" creationId="{AE31B9C5-5BCF-432C-91EB-B468128FEA41}"/>
          </ac:spMkLst>
        </pc:spChg>
        <pc:spChg chg="mod topLvl">
          <ac:chgData name="Gintare Vitkauskaite" userId="fcee79df-4ed1-45d4-8c05-9b9f3354d122" providerId="ADAL" clId="{6313438A-E452-410F-953B-6968086203D6}" dt="2022-02-11T08:46:21.074" v="67" actId="552"/>
          <ac:spMkLst>
            <pc:docMk/>
            <pc:sldMk cId="2201633665" sldId="406"/>
            <ac:spMk id="46" creationId="{DE391F14-887D-4301-865D-8FA664521DBC}"/>
          </ac:spMkLst>
        </pc:spChg>
        <pc:spChg chg="mod topLvl">
          <ac:chgData name="Gintare Vitkauskaite" userId="fcee79df-4ed1-45d4-8c05-9b9f3354d122" providerId="ADAL" clId="{6313438A-E452-410F-953B-6968086203D6}" dt="2022-02-11T08:45:40.160" v="64" actId="165"/>
          <ac:spMkLst>
            <pc:docMk/>
            <pc:sldMk cId="2201633665" sldId="406"/>
            <ac:spMk id="47" creationId="{2A830FF9-5090-4B04-8449-AD8528C0503B}"/>
          </ac:spMkLst>
        </pc:spChg>
        <pc:spChg chg="mod topLvl">
          <ac:chgData name="Gintare Vitkauskaite" userId="fcee79df-4ed1-45d4-8c05-9b9f3354d122" providerId="ADAL" clId="{6313438A-E452-410F-953B-6968086203D6}" dt="2022-02-11T08:46:23.011" v="68" actId="465"/>
          <ac:spMkLst>
            <pc:docMk/>
            <pc:sldMk cId="2201633665" sldId="406"/>
            <ac:spMk id="48" creationId="{49330149-D5AB-4AEC-BAA9-502770030AE3}"/>
          </ac:spMkLst>
        </pc:spChg>
        <pc:grpChg chg="del mod">
          <ac:chgData name="Gintare Vitkauskaite" userId="fcee79df-4ed1-45d4-8c05-9b9f3354d122" providerId="ADAL" clId="{6313438A-E452-410F-953B-6968086203D6}" dt="2022-02-11T08:42:28.867" v="5" actId="165"/>
          <ac:grpSpMkLst>
            <pc:docMk/>
            <pc:sldMk cId="2201633665" sldId="406"/>
            <ac:grpSpMk id="32" creationId="{FADC51F2-BE60-478A-BC01-4D0B32C08E41}"/>
          </ac:grpSpMkLst>
        </pc:grpChg>
        <pc:grpChg chg="del mod topLvl">
          <ac:chgData name="Gintare Vitkauskaite" userId="fcee79df-4ed1-45d4-8c05-9b9f3354d122" providerId="ADAL" clId="{6313438A-E452-410F-953B-6968086203D6}" dt="2022-02-11T08:45:40.160" v="64" actId="165"/>
          <ac:grpSpMkLst>
            <pc:docMk/>
            <pc:sldMk cId="2201633665" sldId="406"/>
            <ac:grpSpMk id="33" creationId="{5488C7E4-2648-40C2-B66D-E6DDB3D9EF3B}"/>
          </ac:grpSpMkLst>
        </pc:grpChg>
        <pc:grpChg chg="del mod topLvl">
          <ac:chgData name="Gintare Vitkauskaite" userId="fcee79df-4ed1-45d4-8c05-9b9f3354d122" providerId="ADAL" clId="{6313438A-E452-410F-953B-6968086203D6}" dt="2022-02-11T08:45:56.502" v="65" actId="165"/>
          <ac:grpSpMkLst>
            <pc:docMk/>
            <pc:sldMk cId="2201633665" sldId="406"/>
            <ac:grpSpMk id="34" creationId="{41FEE596-176A-4773-A1B7-736C8B8D9DF0}"/>
          </ac:grpSpMkLst>
        </pc:grpChg>
        <pc:grpChg chg="del mod topLvl">
          <ac:chgData name="Gintare Vitkauskaite" userId="fcee79df-4ed1-45d4-8c05-9b9f3354d122" providerId="ADAL" clId="{6313438A-E452-410F-953B-6968086203D6}" dt="2022-02-11T08:45:40.160" v="64" actId="165"/>
          <ac:grpSpMkLst>
            <pc:docMk/>
            <pc:sldMk cId="2201633665" sldId="406"/>
            <ac:grpSpMk id="35" creationId="{E5BEDE7A-91E1-4BAF-B200-00FEE71510F3}"/>
          </ac:grpSpMkLst>
        </pc:grpChg>
        <pc:grpChg chg="del mod topLvl">
          <ac:chgData name="Gintare Vitkauskaite" userId="fcee79df-4ed1-45d4-8c05-9b9f3354d122" providerId="ADAL" clId="{6313438A-E452-410F-953B-6968086203D6}" dt="2022-02-11T08:45:40.160" v="64" actId="165"/>
          <ac:grpSpMkLst>
            <pc:docMk/>
            <pc:sldMk cId="2201633665" sldId="406"/>
            <ac:grpSpMk id="36" creationId="{A1A39D59-24B9-4D38-B215-8BCC89EFB384}"/>
          </ac:grpSpMkLst>
        </pc:grpChg>
        <pc:grpChg chg="del mod topLvl">
          <ac:chgData name="Gintare Vitkauskaite" userId="fcee79df-4ed1-45d4-8c05-9b9f3354d122" providerId="ADAL" clId="{6313438A-E452-410F-953B-6968086203D6}" dt="2022-02-11T08:45:40.160" v="64" actId="165"/>
          <ac:grpSpMkLst>
            <pc:docMk/>
            <pc:sldMk cId="2201633665" sldId="406"/>
            <ac:grpSpMk id="37" creationId="{37CCE6C3-2EB8-4AA6-988B-B68FCDB49E6F}"/>
          </ac:grpSpMkLst>
        </pc:grpChg>
      </pc:sldChg>
      <pc:sldChg chg="del">
        <pc:chgData name="Gintare Vitkauskaite" userId="fcee79df-4ed1-45d4-8c05-9b9f3354d122" providerId="ADAL" clId="{6313438A-E452-410F-953B-6968086203D6}" dt="2022-02-11T08:47:15.786" v="87" actId="47"/>
        <pc:sldMkLst>
          <pc:docMk/>
          <pc:sldMk cId="1703862666" sldId="407"/>
        </pc:sldMkLst>
      </pc:sldChg>
      <pc:sldChg chg="del">
        <pc:chgData name="Gintare Vitkauskaite" userId="fcee79df-4ed1-45d4-8c05-9b9f3354d122" providerId="ADAL" clId="{6313438A-E452-410F-953B-6968086203D6}" dt="2022-02-11T08:51:44.036" v="178" actId="47"/>
        <pc:sldMkLst>
          <pc:docMk/>
          <pc:sldMk cId="3899946674" sldId="409"/>
        </pc:sldMkLst>
      </pc:sldChg>
      <pc:sldChg chg="addSp delSp modSp del mod">
        <pc:chgData name="Gintare Vitkauskaite" userId="fcee79df-4ed1-45d4-8c05-9b9f3354d122" providerId="ADAL" clId="{6313438A-E452-410F-953B-6968086203D6}" dt="2022-02-11T12:06:55.171" v="2733" actId="2696"/>
        <pc:sldMkLst>
          <pc:docMk/>
          <pc:sldMk cId="2721759979" sldId="412"/>
        </pc:sldMkLst>
        <pc:spChg chg="add del mod">
          <ac:chgData name="Gintare Vitkauskaite" userId="fcee79df-4ed1-45d4-8c05-9b9f3354d122" providerId="ADAL" clId="{6313438A-E452-410F-953B-6968086203D6}" dt="2022-02-11T08:53:58.836" v="199" actId="478"/>
          <ac:spMkLst>
            <pc:docMk/>
            <pc:sldMk cId="2721759979" sldId="412"/>
            <ac:spMk id="2" creationId="{AE4BA17E-52E0-4305-A72C-A822494094B1}"/>
          </ac:spMkLst>
        </pc:spChg>
        <pc:spChg chg="mod">
          <ac:chgData name="Gintare Vitkauskaite" userId="fcee79df-4ed1-45d4-8c05-9b9f3354d122" providerId="ADAL" clId="{6313438A-E452-410F-953B-6968086203D6}" dt="2022-02-11T08:54:02.338" v="200" actId="1076"/>
          <ac:spMkLst>
            <pc:docMk/>
            <pc:sldMk cId="2721759979" sldId="412"/>
            <ac:spMk id="5" creationId="{7FBB4643-A1D9-4100-959E-34724EF33B8E}"/>
          </ac:spMkLst>
        </pc:spChg>
        <pc:picChg chg="del">
          <ac:chgData name="Gintare Vitkauskaite" userId="fcee79df-4ed1-45d4-8c05-9b9f3354d122" providerId="ADAL" clId="{6313438A-E452-410F-953B-6968086203D6}" dt="2022-02-11T08:53:52.566" v="197" actId="478"/>
          <ac:picMkLst>
            <pc:docMk/>
            <pc:sldMk cId="2721759979" sldId="412"/>
            <ac:picMk id="4" creationId="{279D2EE1-A565-4E1F-92E4-F39CEBFE7A19}"/>
          </ac:picMkLst>
        </pc:picChg>
      </pc:sldChg>
      <pc:sldChg chg="del">
        <pc:chgData name="Gintare Vitkauskaite" userId="fcee79df-4ed1-45d4-8c05-9b9f3354d122" providerId="ADAL" clId="{6313438A-E452-410F-953B-6968086203D6}" dt="2022-02-11T12:46:44.483" v="3546" actId="47"/>
        <pc:sldMkLst>
          <pc:docMk/>
          <pc:sldMk cId="3921774358" sldId="415"/>
        </pc:sldMkLst>
      </pc:sldChg>
      <pc:sldChg chg="del">
        <pc:chgData name="Gintare Vitkauskaite" userId="fcee79df-4ed1-45d4-8c05-9b9f3354d122" providerId="ADAL" clId="{6313438A-E452-410F-953B-6968086203D6}" dt="2022-02-11T12:46:55.859" v="3548" actId="47"/>
        <pc:sldMkLst>
          <pc:docMk/>
          <pc:sldMk cId="1756683655" sldId="416"/>
        </pc:sldMkLst>
      </pc:sldChg>
      <pc:sldChg chg="del">
        <pc:chgData name="Gintare Vitkauskaite" userId="fcee79df-4ed1-45d4-8c05-9b9f3354d122" providerId="ADAL" clId="{6313438A-E452-410F-953B-6968086203D6}" dt="2022-02-11T15:55:29.817" v="5922" actId="47"/>
        <pc:sldMkLst>
          <pc:docMk/>
          <pc:sldMk cId="2939994076" sldId="418"/>
        </pc:sldMkLst>
      </pc:sldChg>
      <pc:sldChg chg="del">
        <pc:chgData name="Gintare Vitkauskaite" userId="fcee79df-4ed1-45d4-8c05-9b9f3354d122" providerId="ADAL" clId="{6313438A-E452-410F-953B-6968086203D6}" dt="2022-02-11T15:55:45.439" v="5923" actId="47"/>
        <pc:sldMkLst>
          <pc:docMk/>
          <pc:sldMk cId="2958746349" sldId="419"/>
        </pc:sldMkLst>
      </pc:sldChg>
      <pc:sldChg chg="del">
        <pc:chgData name="Gintare Vitkauskaite" userId="fcee79df-4ed1-45d4-8c05-9b9f3354d122" providerId="ADAL" clId="{6313438A-E452-410F-953B-6968086203D6}" dt="2022-02-11T15:56:09.980" v="5925" actId="47"/>
        <pc:sldMkLst>
          <pc:docMk/>
          <pc:sldMk cId="1299518292" sldId="420"/>
        </pc:sldMkLst>
      </pc:sldChg>
      <pc:sldChg chg="del">
        <pc:chgData name="Gintare Vitkauskaite" userId="fcee79df-4ed1-45d4-8c05-9b9f3354d122" providerId="ADAL" clId="{6313438A-E452-410F-953B-6968086203D6}" dt="2022-02-11T13:18:18.504" v="3831" actId="47"/>
        <pc:sldMkLst>
          <pc:docMk/>
          <pc:sldMk cId="3882392181" sldId="423"/>
        </pc:sldMkLst>
      </pc:sldChg>
      <pc:sldChg chg="del">
        <pc:chgData name="Gintare Vitkauskaite" userId="fcee79df-4ed1-45d4-8c05-9b9f3354d122" providerId="ADAL" clId="{6313438A-E452-410F-953B-6968086203D6}" dt="2022-02-11T14:54:40.973" v="5452" actId="47"/>
        <pc:sldMkLst>
          <pc:docMk/>
          <pc:sldMk cId="4019440586" sldId="424"/>
        </pc:sldMkLst>
      </pc:sldChg>
      <pc:sldChg chg="add del">
        <pc:chgData name="Gintare Vitkauskaite" userId="fcee79df-4ed1-45d4-8c05-9b9f3354d122" providerId="ADAL" clId="{6313438A-E452-410F-953B-6968086203D6}" dt="2022-02-11T14:54:31.902" v="5450" actId="47"/>
        <pc:sldMkLst>
          <pc:docMk/>
          <pc:sldMk cId="3953075632" sldId="425"/>
        </pc:sldMkLst>
      </pc:sldChg>
      <pc:sldChg chg="del">
        <pc:chgData name="Gintare Vitkauskaite" userId="fcee79df-4ed1-45d4-8c05-9b9f3354d122" providerId="ADAL" clId="{6313438A-E452-410F-953B-6968086203D6}" dt="2022-02-11T14:39:46.118" v="4813" actId="47"/>
        <pc:sldMkLst>
          <pc:docMk/>
          <pc:sldMk cId="679042259" sldId="427"/>
        </pc:sldMkLst>
      </pc:sldChg>
      <pc:sldChg chg="modSp del mod delCm">
        <pc:chgData name="Gintare Vitkauskaite" userId="fcee79df-4ed1-45d4-8c05-9b9f3354d122" providerId="ADAL" clId="{6313438A-E452-410F-953B-6968086203D6}" dt="2022-02-11T15:22:52.533" v="5631" actId="47"/>
        <pc:sldMkLst>
          <pc:docMk/>
          <pc:sldMk cId="3110350947" sldId="429"/>
        </pc:sldMkLst>
        <pc:spChg chg="mod">
          <ac:chgData name="Gintare Vitkauskaite" userId="fcee79df-4ed1-45d4-8c05-9b9f3354d122" providerId="ADAL" clId="{6313438A-E452-410F-953B-6968086203D6}" dt="2022-02-11T15:15:01.655" v="5543" actId="1076"/>
          <ac:spMkLst>
            <pc:docMk/>
            <pc:sldMk cId="3110350947" sldId="429"/>
            <ac:spMk id="28" creationId="{4ED9AB99-2500-43C7-A20C-67150B73F7CA}"/>
          </ac:spMkLst>
        </pc:spChg>
      </pc:sldChg>
      <pc:sldChg chg="del delCm">
        <pc:chgData name="Gintare Vitkauskaite" userId="fcee79df-4ed1-45d4-8c05-9b9f3354d122" providerId="ADAL" clId="{6313438A-E452-410F-953B-6968086203D6}" dt="2022-02-11T15:37:38.380" v="5711" actId="47"/>
        <pc:sldMkLst>
          <pc:docMk/>
          <pc:sldMk cId="1714433387" sldId="430"/>
        </pc:sldMkLst>
      </pc:sldChg>
      <pc:sldChg chg="del">
        <pc:chgData name="Gintare Vitkauskaite" userId="fcee79df-4ed1-45d4-8c05-9b9f3354d122" providerId="ADAL" clId="{6313438A-E452-410F-953B-6968086203D6}" dt="2022-02-11T15:56:12.067" v="5926" actId="47"/>
        <pc:sldMkLst>
          <pc:docMk/>
          <pc:sldMk cId="3347224830" sldId="432"/>
        </pc:sldMkLst>
      </pc:sldChg>
      <pc:sldChg chg="addSp delSp modSp mod">
        <pc:chgData name="Gintare Vitkauskaite" userId="fcee79df-4ed1-45d4-8c05-9b9f3354d122" providerId="ADAL" clId="{6313438A-E452-410F-953B-6968086203D6}" dt="2022-02-11T14:49:42.194" v="5255" actId="207"/>
        <pc:sldMkLst>
          <pc:docMk/>
          <pc:sldMk cId="1215038336" sldId="433"/>
        </pc:sldMkLst>
        <pc:spChg chg="del mod">
          <ac:chgData name="Gintare Vitkauskaite" userId="fcee79df-4ed1-45d4-8c05-9b9f3354d122" providerId="ADAL" clId="{6313438A-E452-410F-953B-6968086203D6}" dt="2022-02-11T13:28:23.669" v="4049" actId="478"/>
          <ac:spMkLst>
            <pc:docMk/>
            <pc:sldMk cId="1215038336" sldId="433"/>
            <ac:spMk id="2" creationId="{2ED4ECBB-2BBD-4A4B-A32D-54B46AD654F9}"/>
          </ac:spMkLst>
        </pc:spChg>
        <pc:spChg chg="add mod">
          <ac:chgData name="Gintare Vitkauskaite" userId="fcee79df-4ed1-45d4-8c05-9b9f3354d122" providerId="ADAL" clId="{6313438A-E452-410F-953B-6968086203D6}" dt="2022-02-11T13:29:00.150" v="4059" actId="1036"/>
          <ac:spMkLst>
            <pc:docMk/>
            <pc:sldMk cId="1215038336" sldId="433"/>
            <ac:spMk id="6" creationId="{E897F333-493C-493B-847D-F598464A1F62}"/>
          </ac:spMkLst>
        </pc:spChg>
        <pc:spChg chg="add del mod">
          <ac:chgData name="Gintare Vitkauskaite" userId="fcee79df-4ed1-45d4-8c05-9b9f3354d122" providerId="ADAL" clId="{6313438A-E452-410F-953B-6968086203D6}" dt="2022-02-11T13:28:27.719" v="4050" actId="478"/>
          <ac:spMkLst>
            <pc:docMk/>
            <pc:sldMk cId="1215038336" sldId="433"/>
            <ac:spMk id="7" creationId="{BCE3C1AE-0555-4D60-8B3F-8E5A2311489F}"/>
          </ac:spMkLst>
        </pc:spChg>
        <pc:spChg chg="add mod">
          <ac:chgData name="Gintare Vitkauskaite" userId="fcee79df-4ed1-45d4-8c05-9b9f3354d122" providerId="ADAL" clId="{6313438A-E452-410F-953B-6968086203D6}" dt="2022-02-11T13:31:22.886" v="4090" actId="207"/>
          <ac:spMkLst>
            <pc:docMk/>
            <pc:sldMk cId="1215038336" sldId="433"/>
            <ac:spMk id="9" creationId="{40D71293-050C-4B8F-92E2-2830F053F16F}"/>
          </ac:spMkLst>
        </pc:spChg>
        <pc:spChg chg="del">
          <ac:chgData name="Gintare Vitkauskaite" userId="fcee79df-4ed1-45d4-8c05-9b9f3354d122" providerId="ADAL" clId="{6313438A-E452-410F-953B-6968086203D6}" dt="2022-02-11T13:19:13.658" v="3833" actId="478"/>
          <ac:spMkLst>
            <pc:docMk/>
            <pc:sldMk cId="1215038336" sldId="433"/>
            <ac:spMk id="11" creationId="{AD90FCCA-D938-4494-828F-92C14942FAB4}"/>
          </ac:spMkLst>
        </pc:spChg>
        <pc:graphicFrameChg chg="del mod modGraphic">
          <ac:chgData name="Gintare Vitkauskaite" userId="fcee79df-4ed1-45d4-8c05-9b9f3354d122" providerId="ADAL" clId="{6313438A-E452-410F-953B-6968086203D6}" dt="2022-02-11T13:24:32.130" v="4028" actId="478"/>
          <ac:graphicFrameMkLst>
            <pc:docMk/>
            <pc:sldMk cId="1215038336" sldId="433"/>
            <ac:graphicFrameMk id="3" creationId="{B4DC0941-E7A6-4449-BA2B-4E796BBF002C}"/>
          </ac:graphicFrameMkLst>
        </pc:graphicFrameChg>
        <pc:graphicFrameChg chg="add mod modGraphic">
          <ac:chgData name="Gintare Vitkauskaite" userId="fcee79df-4ed1-45d4-8c05-9b9f3354d122" providerId="ADAL" clId="{6313438A-E452-410F-953B-6968086203D6}" dt="2022-02-11T14:49:42.194" v="5255" actId="207"/>
          <ac:graphicFrameMkLst>
            <pc:docMk/>
            <pc:sldMk cId="1215038336" sldId="433"/>
            <ac:graphicFrameMk id="4" creationId="{E751B667-B24D-454A-9B1B-C2A34F00FAB3}"/>
          </ac:graphicFrameMkLst>
        </pc:graphicFrameChg>
      </pc:sldChg>
      <pc:sldChg chg="del">
        <pc:chgData name="Gintare Vitkauskaite" userId="fcee79df-4ed1-45d4-8c05-9b9f3354d122" providerId="ADAL" clId="{6313438A-E452-410F-953B-6968086203D6}" dt="2022-02-11T14:39:44.607" v="4812" actId="47"/>
        <pc:sldMkLst>
          <pc:docMk/>
          <pc:sldMk cId="3018874933" sldId="434"/>
        </pc:sldMkLst>
      </pc:sldChg>
      <pc:sldChg chg="del">
        <pc:chgData name="Gintare Vitkauskaite" userId="fcee79df-4ed1-45d4-8c05-9b9f3354d122" providerId="ADAL" clId="{6313438A-E452-410F-953B-6968086203D6}" dt="2022-02-11T14:39:42.826" v="4811" actId="47"/>
        <pc:sldMkLst>
          <pc:docMk/>
          <pc:sldMk cId="841550537" sldId="435"/>
        </pc:sldMkLst>
      </pc:sldChg>
      <pc:sldChg chg="addSp delSp modSp add mod">
        <pc:chgData name="Gintare Vitkauskaite" userId="fcee79df-4ed1-45d4-8c05-9b9f3354d122" providerId="ADAL" clId="{6313438A-E452-410F-953B-6968086203D6}" dt="2022-02-11T08:48:40.873" v="107" actId="207"/>
        <pc:sldMkLst>
          <pc:docMk/>
          <pc:sldMk cId="2018963537" sldId="437"/>
        </pc:sldMkLst>
        <pc:spChg chg="add mod">
          <ac:chgData name="Gintare Vitkauskaite" userId="fcee79df-4ed1-45d4-8c05-9b9f3354d122" providerId="ADAL" clId="{6313438A-E452-410F-953B-6968086203D6}" dt="2022-02-11T08:47:58.362" v="96" actId="1076"/>
          <ac:spMkLst>
            <pc:docMk/>
            <pc:sldMk cId="2018963537" sldId="437"/>
            <ac:spMk id="16" creationId="{2028B7CD-40DE-45D0-A55A-2BEB5386D659}"/>
          </ac:spMkLst>
        </pc:spChg>
        <pc:spChg chg="add mod">
          <ac:chgData name="Gintare Vitkauskaite" userId="fcee79df-4ed1-45d4-8c05-9b9f3354d122" providerId="ADAL" clId="{6313438A-E452-410F-953B-6968086203D6}" dt="2022-02-11T08:48:19.515" v="102" actId="207"/>
          <ac:spMkLst>
            <pc:docMk/>
            <pc:sldMk cId="2018963537" sldId="437"/>
            <ac:spMk id="17" creationId="{D0B43A27-87D8-4909-BA64-B5EF1F4F564C}"/>
          </ac:spMkLst>
        </pc:spChg>
        <pc:spChg chg="mod">
          <ac:chgData name="Gintare Vitkauskaite" userId="fcee79df-4ed1-45d4-8c05-9b9f3354d122" providerId="ADAL" clId="{6313438A-E452-410F-953B-6968086203D6}" dt="2022-02-11T08:47:41.859" v="91" actId="207"/>
          <ac:spMkLst>
            <pc:docMk/>
            <pc:sldMk cId="2018963537" sldId="437"/>
            <ac:spMk id="42" creationId="{A9DE21E8-28C0-41CD-8F6B-AA3F5396D37D}"/>
          </ac:spMkLst>
        </pc:spChg>
        <pc:spChg chg="add del mod">
          <ac:chgData name="Gintare Vitkauskaite" userId="fcee79df-4ed1-45d4-8c05-9b9f3354d122" providerId="ADAL" clId="{6313438A-E452-410F-953B-6968086203D6}" dt="2022-02-11T08:48:10.359" v="100" actId="478"/>
          <ac:spMkLst>
            <pc:docMk/>
            <pc:sldMk cId="2018963537" sldId="437"/>
            <ac:spMk id="43" creationId="{8DAE5641-2686-4C2F-9D6C-1E4E8AA504D4}"/>
          </ac:spMkLst>
        </pc:spChg>
        <pc:spChg chg="mod">
          <ac:chgData name="Gintare Vitkauskaite" userId="fcee79df-4ed1-45d4-8c05-9b9f3354d122" providerId="ADAL" clId="{6313438A-E452-410F-953B-6968086203D6}" dt="2022-02-11T08:48:40.873" v="107" actId="207"/>
          <ac:spMkLst>
            <pc:docMk/>
            <pc:sldMk cId="2018963537" sldId="437"/>
            <ac:spMk id="44" creationId="{1CE5F035-5EF9-4C2B-A122-415CDBC76807}"/>
          </ac:spMkLst>
        </pc:spChg>
        <pc:spChg chg="del">
          <ac:chgData name="Gintare Vitkauskaite" userId="fcee79df-4ed1-45d4-8c05-9b9f3354d122" providerId="ADAL" clId="{6313438A-E452-410F-953B-6968086203D6}" dt="2022-02-11T08:48:30.498" v="104" actId="478"/>
          <ac:spMkLst>
            <pc:docMk/>
            <pc:sldMk cId="2018963537" sldId="437"/>
            <ac:spMk id="45" creationId="{AE31B9C5-5BCF-432C-91EB-B468128FEA41}"/>
          </ac:spMkLst>
        </pc:spChg>
        <pc:spChg chg="mod">
          <ac:chgData name="Gintare Vitkauskaite" userId="fcee79df-4ed1-45d4-8c05-9b9f3354d122" providerId="ADAL" clId="{6313438A-E452-410F-953B-6968086203D6}" dt="2022-02-11T08:48:37.318" v="106" actId="207"/>
          <ac:spMkLst>
            <pc:docMk/>
            <pc:sldMk cId="2018963537" sldId="437"/>
            <ac:spMk id="46" creationId="{DE391F14-887D-4301-865D-8FA664521DBC}"/>
          </ac:spMkLst>
        </pc:spChg>
      </pc:sldChg>
      <pc:sldChg chg="new del">
        <pc:chgData name="Gintare Vitkauskaite" userId="fcee79df-4ed1-45d4-8c05-9b9f3354d122" providerId="ADAL" clId="{6313438A-E452-410F-953B-6968086203D6}" dt="2022-02-11T08:43:01.542" v="21" actId="680"/>
        <pc:sldMkLst>
          <pc:docMk/>
          <pc:sldMk cId="3760935774" sldId="437"/>
        </pc:sldMkLst>
      </pc:sldChg>
      <pc:sldChg chg="addSp delSp modSp add mod">
        <pc:chgData name="Gintare Vitkauskaite" userId="fcee79df-4ed1-45d4-8c05-9b9f3354d122" providerId="ADAL" clId="{6313438A-E452-410F-953B-6968086203D6}" dt="2022-02-11T08:52:57.999" v="195" actId="478"/>
        <pc:sldMkLst>
          <pc:docMk/>
          <pc:sldMk cId="2588766084" sldId="438"/>
        </pc:sldMkLst>
        <pc:spChg chg="del">
          <ac:chgData name="Gintare Vitkauskaite" userId="fcee79df-4ed1-45d4-8c05-9b9f3354d122" providerId="ADAL" clId="{6313438A-E452-410F-953B-6968086203D6}" dt="2022-02-11T08:52:23.206" v="185" actId="478"/>
          <ac:spMkLst>
            <pc:docMk/>
            <pc:sldMk cId="2588766084" sldId="438"/>
            <ac:spMk id="16" creationId="{2028B7CD-40DE-45D0-A55A-2BEB5386D659}"/>
          </ac:spMkLst>
        </pc:spChg>
        <pc:spChg chg="mod">
          <ac:chgData name="Gintare Vitkauskaite" userId="fcee79df-4ed1-45d4-8c05-9b9f3354d122" providerId="ADAL" clId="{6313438A-E452-410F-953B-6968086203D6}" dt="2022-02-11T08:52:36.001" v="188" actId="207"/>
          <ac:spMkLst>
            <pc:docMk/>
            <pc:sldMk cId="2588766084" sldId="438"/>
            <ac:spMk id="17" creationId="{D0B43A27-87D8-4909-BA64-B5EF1F4F564C}"/>
          </ac:spMkLst>
        </pc:spChg>
        <pc:spChg chg="add mod">
          <ac:chgData name="Gintare Vitkauskaite" userId="fcee79df-4ed1-45d4-8c05-9b9f3354d122" providerId="ADAL" clId="{6313438A-E452-410F-953B-6968086203D6}" dt="2022-02-11T08:52:21.002" v="184" actId="1076"/>
          <ac:spMkLst>
            <pc:docMk/>
            <pc:sldMk cId="2588766084" sldId="438"/>
            <ac:spMk id="18" creationId="{0BC6CA9D-8A12-4284-8751-0136588EDFA1}"/>
          </ac:spMkLst>
        </pc:spChg>
        <pc:spChg chg="add del mod">
          <ac:chgData name="Gintare Vitkauskaite" userId="fcee79df-4ed1-45d4-8c05-9b9f3354d122" providerId="ADAL" clId="{6313438A-E452-410F-953B-6968086203D6}" dt="2022-02-11T08:52:41.070" v="190"/>
          <ac:spMkLst>
            <pc:docMk/>
            <pc:sldMk cId="2588766084" sldId="438"/>
            <ac:spMk id="19" creationId="{82CEC787-776A-485F-86BD-0936A3DD9675}"/>
          </ac:spMkLst>
        </pc:spChg>
        <pc:spChg chg="add mod">
          <ac:chgData name="Gintare Vitkauskaite" userId="fcee79df-4ed1-45d4-8c05-9b9f3354d122" providerId="ADAL" clId="{6313438A-E452-410F-953B-6968086203D6}" dt="2022-02-11T08:52:54.949" v="194" actId="207"/>
          <ac:spMkLst>
            <pc:docMk/>
            <pc:sldMk cId="2588766084" sldId="438"/>
            <ac:spMk id="23" creationId="{78950BE7-4820-41D8-A514-4F2D4D81319D}"/>
          </ac:spMkLst>
        </pc:spChg>
        <pc:spChg chg="mod">
          <ac:chgData name="Gintare Vitkauskaite" userId="fcee79df-4ed1-45d4-8c05-9b9f3354d122" providerId="ADAL" clId="{6313438A-E452-410F-953B-6968086203D6}" dt="2022-02-11T08:51:56.494" v="180" actId="207"/>
          <ac:spMkLst>
            <pc:docMk/>
            <pc:sldMk cId="2588766084" sldId="438"/>
            <ac:spMk id="40" creationId="{7A4F7596-014D-4FEF-AF47-6E163A37FE3C}"/>
          </ac:spMkLst>
        </pc:spChg>
        <pc:spChg chg="del mod">
          <ac:chgData name="Gintare Vitkauskaite" userId="fcee79df-4ed1-45d4-8c05-9b9f3354d122" providerId="ADAL" clId="{6313438A-E452-410F-953B-6968086203D6}" dt="2022-02-11T08:52:57.999" v="195" actId="478"/>
          <ac:spMkLst>
            <pc:docMk/>
            <pc:sldMk cId="2588766084" sldId="438"/>
            <ac:spMk id="41" creationId="{00F32C2A-6E60-4126-8B0B-34C9C71E4591}"/>
          </ac:spMkLst>
        </pc:spChg>
        <pc:spChg chg="mod">
          <ac:chgData name="Gintare Vitkauskaite" userId="fcee79df-4ed1-45d4-8c05-9b9f3354d122" providerId="ADAL" clId="{6313438A-E452-410F-953B-6968086203D6}" dt="2022-02-11T08:52:36.001" v="188" actId="207"/>
          <ac:spMkLst>
            <pc:docMk/>
            <pc:sldMk cId="2588766084" sldId="438"/>
            <ac:spMk id="42" creationId="{A9DE21E8-28C0-41CD-8F6B-AA3F5396D37D}"/>
          </ac:spMkLst>
        </pc:spChg>
      </pc:sldChg>
      <pc:sldChg chg="addSp delSp modSp new mod">
        <pc:chgData name="Gintare Vitkauskaite" userId="fcee79df-4ed1-45d4-8c05-9b9f3354d122" providerId="ADAL" clId="{6313438A-E452-410F-953B-6968086203D6}" dt="2022-02-11T10:39:02.949" v="1814" actId="6549"/>
        <pc:sldMkLst>
          <pc:docMk/>
          <pc:sldMk cId="3941309698" sldId="439"/>
        </pc:sldMkLst>
        <pc:spChg chg="mod">
          <ac:chgData name="Gintare Vitkauskaite" userId="fcee79df-4ed1-45d4-8c05-9b9f3354d122" providerId="ADAL" clId="{6313438A-E452-410F-953B-6968086203D6}" dt="2022-02-11T10:39:02.949" v="1814" actId="6549"/>
          <ac:spMkLst>
            <pc:docMk/>
            <pc:sldMk cId="3941309698" sldId="439"/>
            <ac:spMk id="2" creationId="{6212F55E-8570-4D2E-B6BB-B1F44BEEC9DA}"/>
          </ac:spMkLst>
        </pc:spChg>
        <pc:spChg chg="del">
          <ac:chgData name="Gintare Vitkauskaite" userId="fcee79df-4ed1-45d4-8c05-9b9f3354d122" providerId="ADAL" clId="{6313438A-E452-410F-953B-6968086203D6}" dt="2022-02-11T09:00:18.538" v="448" actId="478"/>
          <ac:spMkLst>
            <pc:docMk/>
            <pc:sldMk cId="3941309698" sldId="439"/>
            <ac:spMk id="3" creationId="{3B74B1B1-4A66-46CA-A606-4B318DBBABA8}"/>
          </ac:spMkLst>
        </pc:spChg>
        <pc:spChg chg="add del">
          <ac:chgData name="Gintare Vitkauskaite" userId="fcee79df-4ed1-45d4-8c05-9b9f3354d122" providerId="ADAL" clId="{6313438A-E452-410F-953B-6968086203D6}" dt="2022-02-11T09:00:30.456" v="450" actId="478"/>
          <ac:spMkLst>
            <pc:docMk/>
            <pc:sldMk cId="3941309698" sldId="439"/>
            <ac:spMk id="4" creationId="{840A8A38-E8CB-4C67-836F-0DCF138F346D}"/>
          </ac:spMkLst>
        </pc:spChg>
        <pc:spChg chg="add del">
          <ac:chgData name="Gintare Vitkauskaite" userId="fcee79df-4ed1-45d4-8c05-9b9f3354d122" providerId="ADAL" clId="{6313438A-E452-410F-953B-6968086203D6}" dt="2022-02-11T09:03:49.964" v="452" actId="478"/>
          <ac:spMkLst>
            <pc:docMk/>
            <pc:sldMk cId="3941309698" sldId="439"/>
            <ac:spMk id="5" creationId="{1187B895-F782-4F44-8C40-20BA80BFFA62}"/>
          </ac:spMkLst>
        </pc:spChg>
        <pc:spChg chg="add mod">
          <ac:chgData name="Gintare Vitkauskaite" userId="fcee79df-4ed1-45d4-8c05-9b9f3354d122" providerId="ADAL" clId="{6313438A-E452-410F-953B-6968086203D6}" dt="2022-02-11T10:36:26.092" v="1522" actId="552"/>
          <ac:spMkLst>
            <pc:docMk/>
            <pc:sldMk cId="3941309698" sldId="439"/>
            <ac:spMk id="6" creationId="{AC071DB2-3854-4748-8DF9-87CC12816191}"/>
          </ac:spMkLst>
        </pc:spChg>
        <pc:spChg chg="add mod">
          <ac:chgData name="Gintare Vitkauskaite" userId="fcee79df-4ed1-45d4-8c05-9b9f3354d122" providerId="ADAL" clId="{6313438A-E452-410F-953B-6968086203D6}" dt="2022-02-11T10:23:53.800" v="1431" actId="113"/>
          <ac:spMkLst>
            <pc:docMk/>
            <pc:sldMk cId="3941309698" sldId="439"/>
            <ac:spMk id="7" creationId="{3CD7ED1C-EFA7-4BAA-863E-9EA2B68456EA}"/>
          </ac:spMkLst>
        </pc:spChg>
        <pc:spChg chg="add mod">
          <ac:chgData name="Gintare Vitkauskaite" userId="fcee79df-4ed1-45d4-8c05-9b9f3354d122" providerId="ADAL" clId="{6313438A-E452-410F-953B-6968086203D6}" dt="2022-02-11T10:23:09.833" v="1354" actId="1076"/>
          <ac:spMkLst>
            <pc:docMk/>
            <pc:sldMk cId="3941309698" sldId="439"/>
            <ac:spMk id="8" creationId="{06191DFF-6D5D-42CA-A7E5-FB8442CE0067}"/>
          </ac:spMkLst>
        </pc:spChg>
        <pc:spChg chg="add mod">
          <ac:chgData name="Gintare Vitkauskaite" userId="fcee79df-4ed1-45d4-8c05-9b9f3354d122" providerId="ADAL" clId="{6313438A-E452-410F-953B-6968086203D6}" dt="2022-02-11T10:36:27.799" v="1523" actId="465"/>
          <ac:spMkLst>
            <pc:docMk/>
            <pc:sldMk cId="3941309698" sldId="439"/>
            <ac:spMk id="9" creationId="{FF51E8B6-3FE9-4F07-84AF-B5913372F117}"/>
          </ac:spMkLst>
        </pc:spChg>
        <pc:spChg chg="add mod">
          <ac:chgData name="Gintare Vitkauskaite" userId="fcee79df-4ed1-45d4-8c05-9b9f3354d122" providerId="ADAL" clId="{6313438A-E452-410F-953B-6968086203D6}" dt="2022-02-11T10:34:45.119" v="1440" actId="1036"/>
          <ac:spMkLst>
            <pc:docMk/>
            <pc:sldMk cId="3941309698" sldId="439"/>
            <ac:spMk id="10" creationId="{EBC3E825-D252-42AE-AA10-6BA80774479C}"/>
          </ac:spMkLst>
        </pc:spChg>
        <pc:spChg chg="add mod">
          <ac:chgData name="Gintare Vitkauskaite" userId="fcee79df-4ed1-45d4-8c05-9b9f3354d122" providerId="ADAL" clId="{6313438A-E452-410F-953B-6968086203D6}" dt="2022-02-11T10:36:26.092" v="1522" actId="552"/>
          <ac:spMkLst>
            <pc:docMk/>
            <pc:sldMk cId="3941309698" sldId="439"/>
            <ac:spMk id="11" creationId="{5BC99DBD-B557-420D-BFB6-780CD81ECD98}"/>
          </ac:spMkLst>
        </pc:spChg>
        <pc:spChg chg="add mod">
          <ac:chgData name="Gintare Vitkauskaite" userId="fcee79df-4ed1-45d4-8c05-9b9f3354d122" providerId="ADAL" clId="{6313438A-E452-410F-953B-6968086203D6}" dt="2022-02-11T10:34:45.119" v="1440" actId="1036"/>
          <ac:spMkLst>
            <pc:docMk/>
            <pc:sldMk cId="3941309698" sldId="439"/>
            <ac:spMk id="12" creationId="{7DCC6042-9C4B-4EF3-92FF-F8E024061DA2}"/>
          </ac:spMkLst>
        </pc:spChg>
        <pc:spChg chg="add mod">
          <ac:chgData name="Gintare Vitkauskaite" userId="fcee79df-4ed1-45d4-8c05-9b9f3354d122" providerId="ADAL" clId="{6313438A-E452-410F-953B-6968086203D6}" dt="2022-02-11T10:36:27.799" v="1523" actId="465"/>
          <ac:spMkLst>
            <pc:docMk/>
            <pc:sldMk cId="3941309698" sldId="439"/>
            <ac:spMk id="13" creationId="{82CBA08C-8D00-4969-A7F9-068024BA537E}"/>
          </ac:spMkLst>
        </pc:spChg>
        <pc:spChg chg="add mod">
          <ac:chgData name="Gintare Vitkauskaite" userId="fcee79df-4ed1-45d4-8c05-9b9f3354d122" providerId="ADAL" clId="{6313438A-E452-410F-953B-6968086203D6}" dt="2022-02-11T10:36:35.282" v="1525" actId="14100"/>
          <ac:spMkLst>
            <pc:docMk/>
            <pc:sldMk cId="3941309698" sldId="439"/>
            <ac:spMk id="14" creationId="{9A081D42-E380-4B07-84A5-DC767D291446}"/>
          </ac:spMkLst>
        </pc:spChg>
      </pc:sldChg>
      <pc:sldChg chg="addSp delSp modSp new mod">
        <pc:chgData name="Gintare Vitkauskaite" userId="fcee79df-4ed1-45d4-8c05-9b9f3354d122" providerId="ADAL" clId="{6313438A-E452-410F-953B-6968086203D6}" dt="2022-02-11T12:08:55.707" v="2753" actId="1076"/>
        <pc:sldMkLst>
          <pc:docMk/>
          <pc:sldMk cId="1083499074" sldId="440"/>
        </pc:sldMkLst>
        <pc:spChg chg="mod">
          <ac:chgData name="Gintare Vitkauskaite" userId="fcee79df-4ed1-45d4-8c05-9b9f3354d122" providerId="ADAL" clId="{6313438A-E452-410F-953B-6968086203D6}" dt="2022-02-11T12:06:43.591" v="2732" actId="20577"/>
          <ac:spMkLst>
            <pc:docMk/>
            <pc:sldMk cId="1083499074" sldId="440"/>
            <ac:spMk id="2" creationId="{24E19412-BA6A-408B-90C4-BF3FB3BE9B6B}"/>
          </ac:spMkLst>
        </pc:spChg>
        <pc:spChg chg="del">
          <ac:chgData name="Gintare Vitkauskaite" userId="fcee79df-4ed1-45d4-8c05-9b9f3354d122" providerId="ADAL" clId="{6313438A-E452-410F-953B-6968086203D6}" dt="2022-02-11T10:39:21.336" v="1816" actId="478"/>
          <ac:spMkLst>
            <pc:docMk/>
            <pc:sldMk cId="1083499074" sldId="440"/>
            <ac:spMk id="3" creationId="{80393196-A3E4-46B1-B574-18CD9A833AD4}"/>
          </ac:spMkLst>
        </pc:spChg>
        <pc:spChg chg="add mod topLvl">
          <ac:chgData name="Gintare Vitkauskaite" userId="fcee79df-4ed1-45d4-8c05-9b9f3354d122" providerId="ADAL" clId="{6313438A-E452-410F-953B-6968086203D6}" dt="2022-02-11T11:24:40.347" v="2295" actId="164"/>
          <ac:spMkLst>
            <pc:docMk/>
            <pc:sldMk cId="1083499074" sldId="440"/>
            <ac:spMk id="4" creationId="{D46B8048-439B-416E-839F-3AFBA515E85B}"/>
          </ac:spMkLst>
        </pc:spChg>
        <pc:spChg chg="add del mod topLvl">
          <ac:chgData name="Gintare Vitkauskaite" userId="fcee79df-4ed1-45d4-8c05-9b9f3354d122" providerId="ADAL" clId="{6313438A-E452-410F-953B-6968086203D6}" dt="2022-02-11T10:56:08.485" v="1977" actId="478"/>
          <ac:spMkLst>
            <pc:docMk/>
            <pc:sldMk cId="1083499074" sldId="440"/>
            <ac:spMk id="5" creationId="{3A9B5488-0E34-4BB1-A27D-C276867C670E}"/>
          </ac:spMkLst>
        </pc:spChg>
        <pc:spChg chg="add del mod topLvl">
          <ac:chgData name="Gintare Vitkauskaite" userId="fcee79df-4ed1-45d4-8c05-9b9f3354d122" providerId="ADAL" clId="{6313438A-E452-410F-953B-6968086203D6}" dt="2022-02-11T10:56:06.765" v="1976" actId="478"/>
          <ac:spMkLst>
            <pc:docMk/>
            <pc:sldMk cId="1083499074" sldId="440"/>
            <ac:spMk id="6" creationId="{54C1722E-E313-409D-A649-E8DC393037C8}"/>
          </ac:spMkLst>
        </pc:spChg>
        <pc:spChg chg="add mod topLvl">
          <ac:chgData name="Gintare Vitkauskaite" userId="fcee79df-4ed1-45d4-8c05-9b9f3354d122" providerId="ADAL" clId="{6313438A-E452-410F-953B-6968086203D6}" dt="2022-02-11T11:24:40.347" v="2295" actId="164"/>
          <ac:spMkLst>
            <pc:docMk/>
            <pc:sldMk cId="1083499074" sldId="440"/>
            <ac:spMk id="7" creationId="{1592FA40-2B1A-46C3-87EB-EB9DFD21294E}"/>
          </ac:spMkLst>
        </pc:spChg>
        <pc:spChg chg="add mod topLvl">
          <ac:chgData name="Gintare Vitkauskaite" userId="fcee79df-4ed1-45d4-8c05-9b9f3354d122" providerId="ADAL" clId="{6313438A-E452-410F-953B-6968086203D6}" dt="2022-02-11T11:24:40.347" v="2295" actId="164"/>
          <ac:spMkLst>
            <pc:docMk/>
            <pc:sldMk cId="1083499074" sldId="440"/>
            <ac:spMk id="8" creationId="{32FBA97C-FA3F-42DD-9375-B24660A66CED}"/>
          </ac:spMkLst>
        </pc:spChg>
        <pc:spChg chg="add del mod">
          <ac:chgData name="Gintare Vitkauskaite" userId="fcee79df-4ed1-45d4-8c05-9b9f3354d122" providerId="ADAL" clId="{6313438A-E452-410F-953B-6968086203D6}" dt="2022-02-11T10:53:17.599" v="1909" actId="478"/>
          <ac:spMkLst>
            <pc:docMk/>
            <pc:sldMk cId="1083499074" sldId="440"/>
            <ac:spMk id="9" creationId="{F47DE31B-BFDA-4547-B250-2B9C004F7266}"/>
          </ac:spMkLst>
        </pc:spChg>
        <pc:spChg chg="add mod">
          <ac:chgData name="Gintare Vitkauskaite" userId="fcee79df-4ed1-45d4-8c05-9b9f3354d122" providerId="ADAL" clId="{6313438A-E452-410F-953B-6968086203D6}" dt="2022-02-11T12:08:35.171" v="2744" actId="1076"/>
          <ac:spMkLst>
            <pc:docMk/>
            <pc:sldMk cId="1083499074" sldId="440"/>
            <ac:spMk id="10" creationId="{6242EC5F-C648-43A6-A73B-06A99BC75039}"/>
          </ac:spMkLst>
        </pc:spChg>
        <pc:spChg chg="add mod">
          <ac:chgData name="Gintare Vitkauskaite" userId="fcee79df-4ed1-45d4-8c05-9b9f3354d122" providerId="ADAL" clId="{6313438A-E452-410F-953B-6968086203D6}" dt="2022-02-11T11:24:58.727" v="2303" actId="1076"/>
          <ac:spMkLst>
            <pc:docMk/>
            <pc:sldMk cId="1083499074" sldId="440"/>
            <ac:spMk id="11" creationId="{7F39ED7D-BBDF-42FD-A2B7-149228F3F1D2}"/>
          </ac:spMkLst>
        </pc:spChg>
        <pc:spChg chg="add del mod">
          <ac:chgData name="Gintare Vitkauskaite" userId="fcee79df-4ed1-45d4-8c05-9b9f3354d122" providerId="ADAL" clId="{6313438A-E452-410F-953B-6968086203D6}" dt="2022-02-11T10:53:19.381" v="1910" actId="478"/>
          <ac:spMkLst>
            <pc:docMk/>
            <pc:sldMk cId="1083499074" sldId="440"/>
            <ac:spMk id="12" creationId="{9C643B61-F78B-4562-9B16-BFF1E1A32A58}"/>
          </ac:spMkLst>
        </pc:spChg>
        <pc:spChg chg="add mod">
          <ac:chgData name="Gintare Vitkauskaite" userId="fcee79df-4ed1-45d4-8c05-9b9f3354d122" providerId="ADAL" clId="{6313438A-E452-410F-953B-6968086203D6}" dt="2022-02-11T11:24:40.347" v="2295" actId="164"/>
          <ac:spMkLst>
            <pc:docMk/>
            <pc:sldMk cId="1083499074" sldId="440"/>
            <ac:spMk id="13" creationId="{79326A78-F72C-4A0B-B8A9-326CE36531DF}"/>
          </ac:spMkLst>
        </pc:spChg>
        <pc:spChg chg="add mod">
          <ac:chgData name="Gintare Vitkauskaite" userId="fcee79df-4ed1-45d4-8c05-9b9f3354d122" providerId="ADAL" clId="{6313438A-E452-410F-953B-6968086203D6}" dt="2022-02-11T11:24:40.347" v="2295" actId="164"/>
          <ac:spMkLst>
            <pc:docMk/>
            <pc:sldMk cId="1083499074" sldId="440"/>
            <ac:spMk id="14" creationId="{9C882936-7C75-4F55-A60B-8934CACDC3B8}"/>
          </ac:spMkLst>
        </pc:spChg>
        <pc:spChg chg="add mod topLvl">
          <ac:chgData name="Gintare Vitkauskaite" userId="fcee79df-4ed1-45d4-8c05-9b9f3354d122" providerId="ADAL" clId="{6313438A-E452-410F-953B-6968086203D6}" dt="2022-02-11T11:24:40.347" v="2295" actId="164"/>
          <ac:spMkLst>
            <pc:docMk/>
            <pc:sldMk cId="1083499074" sldId="440"/>
            <ac:spMk id="15" creationId="{935283A5-557E-4E03-8702-738CEA763011}"/>
          </ac:spMkLst>
        </pc:spChg>
        <pc:spChg chg="add del mod topLvl">
          <ac:chgData name="Gintare Vitkauskaite" userId="fcee79df-4ed1-45d4-8c05-9b9f3354d122" providerId="ADAL" clId="{6313438A-E452-410F-953B-6968086203D6}" dt="2022-02-11T10:56:03.346" v="1975" actId="478"/>
          <ac:spMkLst>
            <pc:docMk/>
            <pc:sldMk cId="1083499074" sldId="440"/>
            <ac:spMk id="16" creationId="{F922FADC-388B-49E3-B29B-2A12E4C457F2}"/>
          </ac:spMkLst>
        </pc:spChg>
        <pc:spChg chg="add mod topLvl">
          <ac:chgData name="Gintare Vitkauskaite" userId="fcee79df-4ed1-45d4-8c05-9b9f3354d122" providerId="ADAL" clId="{6313438A-E452-410F-953B-6968086203D6}" dt="2022-02-11T11:24:40.347" v="2295" actId="164"/>
          <ac:spMkLst>
            <pc:docMk/>
            <pc:sldMk cId="1083499074" sldId="440"/>
            <ac:spMk id="17" creationId="{BAD60055-7EF1-4D3A-8E17-EFD29A6884C0}"/>
          </ac:spMkLst>
        </pc:spChg>
        <pc:spChg chg="add mod topLvl">
          <ac:chgData name="Gintare Vitkauskaite" userId="fcee79df-4ed1-45d4-8c05-9b9f3354d122" providerId="ADAL" clId="{6313438A-E452-410F-953B-6968086203D6}" dt="2022-02-11T11:24:40.347" v="2295" actId="164"/>
          <ac:spMkLst>
            <pc:docMk/>
            <pc:sldMk cId="1083499074" sldId="440"/>
            <ac:spMk id="18" creationId="{96017A93-2D25-4B1E-BB16-ADDA91A0FE37}"/>
          </ac:spMkLst>
        </pc:spChg>
        <pc:spChg chg="add del mod">
          <ac:chgData name="Gintare Vitkauskaite" userId="fcee79df-4ed1-45d4-8c05-9b9f3354d122" providerId="ADAL" clId="{6313438A-E452-410F-953B-6968086203D6}" dt="2022-02-11T11:26:10.358" v="2341" actId="478"/>
          <ac:spMkLst>
            <pc:docMk/>
            <pc:sldMk cId="1083499074" sldId="440"/>
            <ac:spMk id="19" creationId="{39166FA5-0F52-4AB7-A2D5-D89892C209E4}"/>
          </ac:spMkLst>
        </pc:spChg>
        <pc:spChg chg="add del mod">
          <ac:chgData name="Gintare Vitkauskaite" userId="fcee79df-4ed1-45d4-8c05-9b9f3354d122" providerId="ADAL" clId="{6313438A-E452-410F-953B-6968086203D6}" dt="2022-02-11T11:22:29.119" v="2253" actId="478"/>
          <ac:spMkLst>
            <pc:docMk/>
            <pc:sldMk cId="1083499074" sldId="440"/>
            <ac:spMk id="20" creationId="{5E380D1F-3180-4F19-BCB6-602CD1B81364}"/>
          </ac:spMkLst>
        </pc:spChg>
        <pc:spChg chg="add del mod">
          <ac:chgData name="Gintare Vitkauskaite" userId="fcee79df-4ed1-45d4-8c05-9b9f3354d122" providerId="ADAL" clId="{6313438A-E452-410F-953B-6968086203D6}" dt="2022-02-11T10:53:26.292" v="1913" actId="478"/>
          <ac:spMkLst>
            <pc:docMk/>
            <pc:sldMk cId="1083499074" sldId="440"/>
            <ac:spMk id="21" creationId="{FC5BD2E8-87FD-49B9-8585-D0706CC065D3}"/>
          </ac:spMkLst>
        </pc:spChg>
        <pc:spChg chg="add mod">
          <ac:chgData name="Gintare Vitkauskaite" userId="fcee79df-4ed1-45d4-8c05-9b9f3354d122" providerId="ADAL" clId="{6313438A-E452-410F-953B-6968086203D6}" dt="2022-02-11T12:08:28.550" v="2741" actId="1076"/>
          <ac:spMkLst>
            <pc:docMk/>
            <pc:sldMk cId="1083499074" sldId="440"/>
            <ac:spMk id="47" creationId="{8FDADF26-9FA5-4933-AF21-12EFB1AEC6C0}"/>
          </ac:spMkLst>
        </pc:spChg>
        <pc:spChg chg="add mod">
          <ac:chgData name="Gintare Vitkauskaite" userId="fcee79df-4ed1-45d4-8c05-9b9f3354d122" providerId="ADAL" clId="{6313438A-E452-410F-953B-6968086203D6}" dt="2022-02-11T12:08:37.550" v="2745" actId="1076"/>
          <ac:spMkLst>
            <pc:docMk/>
            <pc:sldMk cId="1083499074" sldId="440"/>
            <ac:spMk id="48" creationId="{15F034D8-9251-4666-8E70-9E081DE3DFE5}"/>
          </ac:spMkLst>
        </pc:spChg>
        <pc:spChg chg="add del mod">
          <ac:chgData name="Gintare Vitkauskaite" userId="fcee79df-4ed1-45d4-8c05-9b9f3354d122" providerId="ADAL" clId="{6313438A-E452-410F-953B-6968086203D6}" dt="2022-02-11T11:04:06.889" v="2163" actId="478"/>
          <ac:spMkLst>
            <pc:docMk/>
            <pc:sldMk cId="1083499074" sldId="440"/>
            <ac:spMk id="49" creationId="{B67F4D90-7D26-482E-90F1-7764CDE8F3E9}"/>
          </ac:spMkLst>
        </pc:spChg>
        <pc:spChg chg="add mod">
          <ac:chgData name="Gintare Vitkauskaite" userId="fcee79df-4ed1-45d4-8c05-9b9f3354d122" providerId="ADAL" clId="{6313438A-E452-410F-953B-6968086203D6}" dt="2022-02-11T11:25:12.312" v="2307" actId="1076"/>
          <ac:spMkLst>
            <pc:docMk/>
            <pc:sldMk cId="1083499074" sldId="440"/>
            <ac:spMk id="50" creationId="{892F0508-8BA7-4F04-B456-BFE1E2826403}"/>
          </ac:spMkLst>
        </pc:spChg>
        <pc:spChg chg="add mod">
          <ac:chgData name="Gintare Vitkauskaite" userId="fcee79df-4ed1-45d4-8c05-9b9f3354d122" providerId="ADAL" clId="{6313438A-E452-410F-953B-6968086203D6}" dt="2022-02-11T12:08:44.081" v="2748" actId="1076"/>
          <ac:spMkLst>
            <pc:docMk/>
            <pc:sldMk cId="1083499074" sldId="440"/>
            <ac:spMk id="51" creationId="{3099C705-963B-4A6B-84CB-4A1710FA7FCF}"/>
          </ac:spMkLst>
        </pc:spChg>
        <pc:spChg chg="add mod">
          <ac:chgData name="Gintare Vitkauskaite" userId="fcee79df-4ed1-45d4-8c05-9b9f3354d122" providerId="ADAL" clId="{6313438A-E452-410F-953B-6968086203D6}" dt="2022-02-11T12:08:52.420" v="2752" actId="1076"/>
          <ac:spMkLst>
            <pc:docMk/>
            <pc:sldMk cId="1083499074" sldId="440"/>
            <ac:spMk id="53" creationId="{79B4B463-E73D-4C96-928D-3E0120C1DB5E}"/>
          </ac:spMkLst>
        </pc:spChg>
        <pc:spChg chg="add mod">
          <ac:chgData name="Gintare Vitkauskaite" userId="fcee79df-4ed1-45d4-8c05-9b9f3354d122" providerId="ADAL" clId="{6313438A-E452-410F-953B-6968086203D6}" dt="2022-02-11T12:08:55.707" v="2753" actId="1076"/>
          <ac:spMkLst>
            <pc:docMk/>
            <pc:sldMk cId="1083499074" sldId="440"/>
            <ac:spMk id="54" creationId="{53968768-78B1-4BE3-93FE-1604B4C8406C}"/>
          </ac:spMkLst>
        </pc:spChg>
        <pc:grpChg chg="add del mod">
          <ac:chgData name="Gintare Vitkauskaite" userId="fcee79df-4ed1-45d4-8c05-9b9f3354d122" providerId="ADAL" clId="{6313438A-E452-410F-953B-6968086203D6}" dt="2022-02-11T10:55:49.205" v="1966" actId="165"/>
          <ac:grpSpMkLst>
            <pc:docMk/>
            <pc:sldMk cId="1083499074" sldId="440"/>
            <ac:grpSpMk id="29" creationId="{F65093AC-1755-4269-95FB-0BB4ED42BC08}"/>
          </ac:grpSpMkLst>
        </pc:grpChg>
        <pc:grpChg chg="add del mod">
          <ac:chgData name="Gintare Vitkauskaite" userId="fcee79df-4ed1-45d4-8c05-9b9f3354d122" providerId="ADAL" clId="{6313438A-E452-410F-953B-6968086203D6}" dt="2022-02-11T10:55:51.866" v="1967" actId="165"/>
          <ac:grpSpMkLst>
            <pc:docMk/>
            <pc:sldMk cId="1083499074" sldId="440"/>
            <ac:grpSpMk id="30" creationId="{9C925D7B-2BFF-4FF3-8156-927C931D523F}"/>
          </ac:grpSpMkLst>
        </pc:grpChg>
        <pc:grpChg chg="add mod">
          <ac:chgData name="Gintare Vitkauskaite" userId="fcee79df-4ed1-45d4-8c05-9b9f3354d122" providerId="ADAL" clId="{6313438A-E452-410F-953B-6968086203D6}" dt="2022-02-11T12:04:28.121" v="2386" actId="14100"/>
          <ac:grpSpMkLst>
            <pc:docMk/>
            <pc:sldMk cId="1083499074" sldId="440"/>
            <ac:grpSpMk id="52" creationId="{900A041B-517D-4EA6-8B88-046EF485F434}"/>
          </ac:grpSpMkLst>
        </pc:grpChg>
        <pc:picChg chg="add del mod topLvl">
          <ac:chgData name="Gintare Vitkauskaite" userId="fcee79df-4ed1-45d4-8c05-9b9f3354d122" providerId="ADAL" clId="{6313438A-E452-410F-953B-6968086203D6}" dt="2022-02-11T10:55:58.594" v="1972" actId="478"/>
          <ac:picMkLst>
            <pc:docMk/>
            <pc:sldMk cId="1083499074" sldId="440"/>
            <ac:picMk id="22" creationId="{DD52217D-6AA0-41DE-88B5-F701F104DB06}"/>
          </ac:picMkLst>
        </pc:picChg>
        <pc:picChg chg="add del mod topLvl">
          <ac:chgData name="Gintare Vitkauskaite" userId="fcee79df-4ed1-45d4-8c05-9b9f3354d122" providerId="ADAL" clId="{6313438A-E452-410F-953B-6968086203D6}" dt="2022-02-11T10:56:00.348" v="1974" actId="478"/>
          <ac:picMkLst>
            <pc:docMk/>
            <pc:sldMk cId="1083499074" sldId="440"/>
            <ac:picMk id="23" creationId="{AD006569-4738-4DB5-B911-C6B7B2F6EDAA}"/>
          </ac:picMkLst>
        </pc:picChg>
        <pc:picChg chg="add del mod topLvl">
          <ac:chgData name="Gintare Vitkauskaite" userId="fcee79df-4ed1-45d4-8c05-9b9f3354d122" providerId="ADAL" clId="{6313438A-E452-410F-953B-6968086203D6}" dt="2022-02-11T10:55:55.053" v="1968" actId="478"/>
          <ac:picMkLst>
            <pc:docMk/>
            <pc:sldMk cId="1083499074" sldId="440"/>
            <ac:picMk id="24" creationId="{89BF87F3-5874-4839-82DB-1F30CA2FF980}"/>
          </ac:picMkLst>
        </pc:picChg>
        <pc:picChg chg="add del mod topLvl">
          <ac:chgData name="Gintare Vitkauskaite" userId="fcee79df-4ed1-45d4-8c05-9b9f3354d122" providerId="ADAL" clId="{6313438A-E452-410F-953B-6968086203D6}" dt="2022-02-11T10:55:56.863" v="1970" actId="478"/>
          <ac:picMkLst>
            <pc:docMk/>
            <pc:sldMk cId="1083499074" sldId="440"/>
            <ac:picMk id="25" creationId="{8AE5C636-5231-4CE4-A87F-B9074D7B8636}"/>
          </ac:picMkLst>
        </pc:picChg>
        <pc:picChg chg="add del mod topLvl">
          <ac:chgData name="Gintare Vitkauskaite" userId="fcee79df-4ed1-45d4-8c05-9b9f3354d122" providerId="ADAL" clId="{6313438A-E452-410F-953B-6968086203D6}" dt="2022-02-11T10:55:57.745" v="1971" actId="478"/>
          <ac:picMkLst>
            <pc:docMk/>
            <pc:sldMk cId="1083499074" sldId="440"/>
            <ac:picMk id="26" creationId="{FCE07982-094D-4106-B8BA-743D06B08626}"/>
          </ac:picMkLst>
        </pc:picChg>
        <pc:picChg chg="add del mod topLvl">
          <ac:chgData name="Gintare Vitkauskaite" userId="fcee79df-4ed1-45d4-8c05-9b9f3354d122" providerId="ADAL" clId="{6313438A-E452-410F-953B-6968086203D6}" dt="2022-02-11T10:55:56.014" v="1969" actId="478"/>
          <ac:picMkLst>
            <pc:docMk/>
            <pc:sldMk cId="1083499074" sldId="440"/>
            <ac:picMk id="27" creationId="{4809566B-99A6-45F6-A6A1-A002A2905F28}"/>
          </ac:picMkLst>
        </pc:picChg>
        <pc:picChg chg="add del mod topLvl">
          <ac:chgData name="Gintare Vitkauskaite" userId="fcee79df-4ed1-45d4-8c05-9b9f3354d122" providerId="ADAL" clId="{6313438A-E452-410F-953B-6968086203D6}" dt="2022-02-11T10:55:59.586" v="1973" actId="478"/>
          <ac:picMkLst>
            <pc:docMk/>
            <pc:sldMk cId="1083499074" sldId="440"/>
            <ac:picMk id="28" creationId="{F557333F-97CF-4601-9FC8-0B8BF3966CBA}"/>
          </ac:picMkLst>
        </pc:picChg>
        <pc:picChg chg="add del mod">
          <ac:chgData name="Gintare Vitkauskaite" userId="fcee79df-4ed1-45d4-8c05-9b9f3354d122" providerId="ADAL" clId="{6313438A-E452-410F-953B-6968086203D6}" dt="2022-02-11T10:56:58.595" v="1989" actId="478"/>
          <ac:picMkLst>
            <pc:docMk/>
            <pc:sldMk cId="1083499074" sldId="440"/>
            <ac:picMk id="32" creationId="{3D7F616A-43B9-474D-93D0-56A37D0B1C2E}"/>
          </ac:picMkLst>
        </pc:picChg>
        <pc:picChg chg="add del mod">
          <ac:chgData name="Gintare Vitkauskaite" userId="fcee79df-4ed1-45d4-8c05-9b9f3354d122" providerId="ADAL" clId="{6313438A-E452-410F-953B-6968086203D6}" dt="2022-02-11T10:59:04.046" v="2050" actId="478"/>
          <ac:picMkLst>
            <pc:docMk/>
            <pc:sldMk cId="1083499074" sldId="440"/>
            <ac:picMk id="34" creationId="{22BE38EB-EC97-4B43-85F6-6444F677AAAB}"/>
          </ac:picMkLst>
        </pc:picChg>
        <pc:picChg chg="add del mod">
          <ac:chgData name="Gintare Vitkauskaite" userId="fcee79df-4ed1-45d4-8c05-9b9f3354d122" providerId="ADAL" clId="{6313438A-E452-410F-953B-6968086203D6}" dt="2022-02-11T10:57:10.999" v="1995" actId="478"/>
          <ac:picMkLst>
            <pc:docMk/>
            <pc:sldMk cId="1083499074" sldId="440"/>
            <ac:picMk id="36" creationId="{F79D5126-956E-4F76-9CFD-7E18C8C72636}"/>
          </ac:picMkLst>
        </pc:picChg>
        <pc:picChg chg="add mod">
          <ac:chgData name="Gintare Vitkauskaite" userId="fcee79df-4ed1-45d4-8c05-9b9f3354d122" providerId="ADAL" clId="{6313438A-E452-410F-953B-6968086203D6}" dt="2022-02-11T11:24:40.347" v="2295" actId="164"/>
          <ac:picMkLst>
            <pc:docMk/>
            <pc:sldMk cId="1083499074" sldId="440"/>
            <ac:picMk id="38" creationId="{87B47CC3-3ED1-416D-B45F-023E245B8840}"/>
          </ac:picMkLst>
        </pc:picChg>
        <pc:picChg chg="add del mod">
          <ac:chgData name="Gintare Vitkauskaite" userId="fcee79df-4ed1-45d4-8c05-9b9f3354d122" providerId="ADAL" clId="{6313438A-E452-410F-953B-6968086203D6}" dt="2022-02-11T11:00:24.256" v="2054" actId="478"/>
          <ac:picMkLst>
            <pc:docMk/>
            <pc:sldMk cId="1083499074" sldId="440"/>
            <ac:picMk id="40" creationId="{6A9596B2-6435-4974-B4F2-60E02AF85484}"/>
          </ac:picMkLst>
        </pc:picChg>
        <pc:picChg chg="add mod">
          <ac:chgData name="Gintare Vitkauskaite" userId="fcee79df-4ed1-45d4-8c05-9b9f3354d122" providerId="ADAL" clId="{6313438A-E452-410F-953B-6968086203D6}" dt="2022-02-11T11:24:40.347" v="2295" actId="164"/>
          <ac:picMkLst>
            <pc:docMk/>
            <pc:sldMk cId="1083499074" sldId="440"/>
            <ac:picMk id="42" creationId="{FE95DB94-7A9C-4552-8A00-8A9B5BAB3FED}"/>
          </ac:picMkLst>
        </pc:picChg>
        <pc:picChg chg="add mod">
          <ac:chgData name="Gintare Vitkauskaite" userId="fcee79df-4ed1-45d4-8c05-9b9f3354d122" providerId="ADAL" clId="{6313438A-E452-410F-953B-6968086203D6}" dt="2022-02-11T11:24:40.347" v="2295" actId="164"/>
          <ac:picMkLst>
            <pc:docMk/>
            <pc:sldMk cId="1083499074" sldId="440"/>
            <ac:picMk id="44" creationId="{F9BA38F8-91C9-48CF-A73B-FDF2D23FC205}"/>
          </ac:picMkLst>
        </pc:picChg>
        <pc:picChg chg="add mod">
          <ac:chgData name="Gintare Vitkauskaite" userId="fcee79df-4ed1-45d4-8c05-9b9f3354d122" providerId="ADAL" clId="{6313438A-E452-410F-953B-6968086203D6}" dt="2022-02-11T11:24:40.347" v="2295" actId="164"/>
          <ac:picMkLst>
            <pc:docMk/>
            <pc:sldMk cId="1083499074" sldId="440"/>
            <ac:picMk id="46" creationId="{788C2635-B5DD-4C4A-99FB-AF9B6EC25DE3}"/>
          </ac:picMkLst>
        </pc:picChg>
      </pc:sldChg>
      <pc:sldChg chg="addSp delSp modSp new mod">
        <pc:chgData name="Gintare Vitkauskaite" userId="fcee79df-4ed1-45d4-8c05-9b9f3354d122" providerId="ADAL" clId="{6313438A-E452-410F-953B-6968086203D6}" dt="2022-02-11T12:46:22.999" v="3545" actId="14100"/>
        <pc:sldMkLst>
          <pc:docMk/>
          <pc:sldMk cId="500580820" sldId="441"/>
        </pc:sldMkLst>
        <pc:spChg chg="mod">
          <ac:chgData name="Gintare Vitkauskaite" userId="fcee79df-4ed1-45d4-8c05-9b9f3354d122" providerId="ADAL" clId="{6313438A-E452-410F-953B-6968086203D6}" dt="2022-02-11T12:34:13.101" v="3277" actId="20577"/>
          <ac:spMkLst>
            <pc:docMk/>
            <pc:sldMk cId="500580820" sldId="441"/>
            <ac:spMk id="2" creationId="{915E3DDC-EAB2-4739-B6F6-341C99C2599E}"/>
          </ac:spMkLst>
        </pc:spChg>
        <pc:spChg chg="del">
          <ac:chgData name="Gintare Vitkauskaite" userId="fcee79df-4ed1-45d4-8c05-9b9f3354d122" providerId="ADAL" clId="{6313438A-E452-410F-953B-6968086203D6}" dt="2022-02-11T12:07:27.635" v="2735" actId="478"/>
          <ac:spMkLst>
            <pc:docMk/>
            <pc:sldMk cId="500580820" sldId="441"/>
            <ac:spMk id="3" creationId="{79A860AA-2CF8-4462-B0AF-938C4165E4C6}"/>
          </ac:spMkLst>
        </pc:spChg>
        <pc:spChg chg="add mod">
          <ac:chgData name="Gintare Vitkauskaite" userId="fcee79df-4ed1-45d4-8c05-9b9f3354d122" providerId="ADAL" clId="{6313438A-E452-410F-953B-6968086203D6}" dt="2022-02-11T12:27:21.376" v="3094" actId="164"/>
          <ac:spMkLst>
            <pc:docMk/>
            <pc:sldMk cId="500580820" sldId="441"/>
            <ac:spMk id="7" creationId="{67C736DA-BF47-439D-9805-DE8CB9865F1C}"/>
          </ac:spMkLst>
        </pc:spChg>
        <pc:spChg chg="add del mod">
          <ac:chgData name="Gintare Vitkauskaite" userId="fcee79df-4ed1-45d4-8c05-9b9f3354d122" providerId="ADAL" clId="{6313438A-E452-410F-953B-6968086203D6}" dt="2022-02-11T12:23:42.113" v="2916" actId="478"/>
          <ac:spMkLst>
            <pc:docMk/>
            <pc:sldMk cId="500580820" sldId="441"/>
            <ac:spMk id="10" creationId="{C02E5C17-2952-4E90-8464-7E0497F8F4DA}"/>
          </ac:spMkLst>
        </pc:spChg>
        <pc:spChg chg="add del mod">
          <ac:chgData name="Gintare Vitkauskaite" userId="fcee79df-4ed1-45d4-8c05-9b9f3354d122" providerId="ADAL" clId="{6313438A-E452-410F-953B-6968086203D6}" dt="2022-02-11T12:25:50.122" v="2973" actId="21"/>
          <ac:spMkLst>
            <pc:docMk/>
            <pc:sldMk cId="500580820" sldId="441"/>
            <ac:spMk id="13" creationId="{B6897B31-FC07-48A4-A84B-7CFBC792D7D4}"/>
          </ac:spMkLst>
        </pc:spChg>
        <pc:spChg chg="add mod">
          <ac:chgData name="Gintare Vitkauskaite" userId="fcee79df-4ed1-45d4-8c05-9b9f3354d122" providerId="ADAL" clId="{6313438A-E452-410F-953B-6968086203D6}" dt="2022-02-11T12:44:31.319" v="3510" actId="1037"/>
          <ac:spMkLst>
            <pc:docMk/>
            <pc:sldMk cId="500580820" sldId="441"/>
            <ac:spMk id="15" creationId="{F88DAB9C-B717-4F56-A6A0-BEC7CBEBAD03}"/>
          </ac:spMkLst>
        </pc:spChg>
        <pc:spChg chg="add mod">
          <ac:chgData name="Gintare Vitkauskaite" userId="fcee79df-4ed1-45d4-8c05-9b9f3354d122" providerId="ADAL" clId="{6313438A-E452-410F-953B-6968086203D6}" dt="2022-02-11T12:44:31.319" v="3510" actId="1037"/>
          <ac:spMkLst>
            <pc:docMk/>
            <pc:sldMk cId="500580820" sldId="441"/>
            <ac:spMk id="16" creationId="{F77ADBD1-C5AD-4AA2-9774-E1BF3A73B22D}"/>
          </ac:spMkLst>
        </pc:spChg>
        <pc:spChg chg="add del mod">
          <ac:chgData name="Gintare Vitkauskaite" userId="fcee79df-4ed1-45d4-8c05-9b9f3354d122" providerId="ADAL" clId="{6313438A-E452-410F-953B-6968086203D6}" dt="2022-02-11T12:45:18.299" v="3526" actId="207"/>
          <ac:spMkLst>
            <pc:docMk/>
            <pc:sldMk cId="500580820" sldId="441"/>
            <ac:spMk id="17" creationId="{1BB177F0-3B8B-4022-B8F8-D0456A816DED}"/>
          </ac:spMkLst>
        </pc:spChg>
        <pc:spChg chg="add mod">
          <ac:chgData name="Gintare Vitkauskaite" userId="fcee79df-4ed1-45d4-8c05-9b9f3354d122" providerId="ADAL" clId="{6313438A-E452-410F-953B-6968086203D6}" dt="2022-02-11T12:45:24.989" v="3527" actId="207"/>
          <ac:spMkLst>
            <pc:docMk/>
            <pc:sldMk cId="500580820" sldId="441"/>
            <ac:spMk id="18" creationId="{FED663A8-F75A-45A6-B805-CA76A92EC7A6}"/>
          </ac:spMkLst>
        </pc:spChg>
        <pc:spChg chg="add mod">
          <ac:chgData name="Gintare Vitkauskaite" userId="fcee79df-4ed1-45d4-8c05-9b9f3354d122" providerId="ADAL" clId="{6313438A-E452-410F-953B-6968086203D6}" dt="2022-02-11T12:45:01.310" v="3525" actId="14100"/>
          <ac:spMkLst>
            <pc:docMk/>
            <pc:sldMk cId="500580820" sldId="441"/>
            <ac:spMk id="19" creationId="{378DF969-C3DF-46D2-8E52-BA0C9B028A56}"/>
          </ac:spMkLst>
        </pc:spChg>
        <pc:spChg chg="add mod">
          <ac:chgData name="Gintare Vitkauskaite" userId="fcee79df-4ed1-45d4-8c05-9b9f3354d122" providerId="ADAL" clId="{6313438A-E452-410F-953B-6968086203D6}" dt="2022-02-11T12:45:34.190" v="3530" actId="14100"/>
          <ac:spMkLst>
            <pc:docMk/>
            <pc:sldMk cId="500580820" sldId="441"/>
            <ac:spMk id="20" creationId="{DF5C0864-F619-4470-938C-D0FE62C88034}"/>
          </ac:spMkLst>
        </pc:spChg>
        <pc:spChg chg="add mod">
          <ac:chgData name="Gintare Vitkauskaite" userId="fcee79df-4ed1-45d4-8c05-9b9f3354d122" providerId="ADAL" clId="{6313438A-E452-410F-953B-6968086203D6}" dt="2022-02-11T12:45:38.649" v="3534" actId="1036"/>
          <ac:spMkLst>
            <pc:docMk/>
            <pc:sldMk cId="500580820" sldId="441"/>
            <ac:spMk id="21" creationId="{8CECCA08-1CA2-46EC-A04C-5149192DC882}"/>
          </ac:spMkLst>
        </pc:spChg>
        <pc:spChg chg="add mod">
          <ac:chgData name="Gintare Vitkauskaite" userId="fcee79df-4ed1-45d4-8c05-9b9f3354d122" providerId="ADAL" clId="{6313438A-E452-410F-953B-6968086203D6}" dt="2022-02-11T12:45:30.769" v="3529" actId="20577"/>
          <ac:spMkLst>
            <pc:docMk/>
            <pc:sldMk cId="500580820" sldId="441"/>
            <ac:spMk id="22" creationId="{B085D500-AEC4-4B67-A7FF-B26142113162}"/>
          </ac:spMkLst>
        </pc:spChg>
        <pc:grpChg chg="add mod">
          <ac:chgData name="Gintare Vitkauskaite" userId="fcee79df-4ed1-45d4-8c05-9b9f3354d122" providerId="ADAL" clId="{6313438A-E452-410F-953B-6968086203D6}" dt="2022-02-11T12:44:27.074" v="3505" actId="14100"/>
          <ac:grpSpMkLst>
            <pc:docMk/>
            <pc:sldMk cId="500580820" sldId="441"/>
            <ac:grpSpMk id="14" creationId="{0BCD32BE-ED79-4872-8488-418BA60D9591}"/>
          </ac:grpSpMkLst>
        </pc:grpChg>
        <pc:graphicFrameChg chg="add del mod modGraphic">
          <ac:chgData name="Gintare Vitkauskaite" userId="fcee79df-4ed1-45d4-8c05-9b9f3354d122" providerId="ADAL" clId="{6313438A-E452-410F-953B-6968086203D6}" dt="2022-02-11T12:12:11.790" v="2878" actId="478"/>
          <ac:graphicFrameMkLst>
            <pc:docMk/>
            <pc:sldMk cId="500580820" sldId="441"/>
            <ac:graphicFrameMk id="6" creationId="{CEB0CE72-FC80-43F2-9677-EF1EFFC4AE9E}"/>
          </ac:graphicFrameMkLst>
        </pc:graphicFrameChg>
        <pc:graphicFrameChg chg="add del mod">
          <ac:chgData name="Gintare Vitkauskaite" userId="fcee79df-4ed1-45d4-8c05-9b9f3354d122" providerId="ADAL" clId="{6313438A-E452-410F-953B-6968086203D6}" dt="2022-02-11T12:26:37.370" v="3086" actId="478"/>
          <ac:graphicFrameMkLst>
            <pc:docMk/>
            <pc:sldMk cId="500580820" sldId="441"/>
            <ac:graphicFrameMk id="8" creationId="{4D289B06-E8F8-49FF-B7C4-90ED1A7F6018}"/>
          </ac:graphicFrameMkLst>
        </pc:graphicFrameChg>
        <pc:graphicFrameChg chg="add del mod modGraphic">
          <ac:chgData name="Gintare Vitkauskaite" userId="fcee79df-4ed1-45d4-8c05-9b9f3354d122" providerId="ADAL" clId="{6313438A-E452-410F-953B-6968086203D6}" dt="2022-02-11T12:24:00.146" v="2918" actId="478"/>
          <ac:graphicFrameMkLst>
            <pc:docMk/>
            <pc:sldMk cId="500580820" sldId="441"/>
            <ac:graphicFrameMk id="9" creationId="{35D80C4D-6446-44CA-8D0B-D353CE5D5A6F}"/>
          </ac:graphicFrameMkLst>
        </pc:graphicFrameChg>
        <pc:graphicFrameChg chg="add del mod modGraphic">
          <ac:chgData name="Gintare Vitkauskaite" userId="fcee79df-4ed1-45d4-8c05-9b9f3354d122" providerId="ADAL" clId="{6313438A-E452-410F-953B-6968086203D6}" dt="2022-02-11T12:25:38.081" v="2970" actId="478"/>
          <ac:graphicFrameMkLst>
            <pc:docMk/>
            <pc:sldMk cId="500580820" sldId="441"/>
            <ac:graphicFrameMk id="11" creationId="{67AE8E3A-1F84-4280-8881-337D6F1B4485}"/>
          </ac:graphicFrameMkLst>
        </pc:graphicFrameChg>
        <pc:graphicFrameChg chg="add mod modGraphic">
          <ac:chgData name="Gintare Vitkauskaite" userId="fcee79df-4ed1-45d4-8c05-9b9f3354d122" providerId="ADAL" clId="{6313438A-E452-410F-953B-6968086203D6}" dt="2022-02-11T12:33:51.481" v="3274" actId="20577"/>
          <ac:graphicFrameMkLst>
            <pc:docMk/>
            <pc:sldMk cId="500580820" sldId="441"/>
            <ac:graphicFrameMk id="12" creationId="{EC3A8DE8-C591-4A91-B0FF-4D1DE970340B}"/>
          </ac:graphicFrameMkLst>
        </pc:graphicFrameChg>
        <pc:cxnChg chg="add del mod">
          <ac:chgData name="Gintare Vitkauskaite" userId="fcee79df-4ed1-45d4-8c05-9b9f3354d122" providerId="ADAL" clId="{6313438A-E452-410F-953B-6968086203D6}" dt="2022-02-11T12:45:47.519" v="3536" actId="11529"/>
          <ac:cxnSpMkLst>
            <pc:docMk/>
            <pc:sldMk cId="500580820" sldId="441"/>
            <ac:cxnSpMk id="24" creationId="{9DE3BBD8-0F1C-4396-A110-EBF32801D8D9}"/>
          </ac:cxnSpMkLst>
        </pc:cxnChg>
        <pc:cxnChg chg="add mod">
          <ac:chgData name="Gintare Vitkauskaite" userId="fcee79df-4ed1-45d4-8c05-9b9f3354d122" providerId="ADAL" clId="{6313438A-E452-410F-953B-6968086203D6}" dt="2022-02-11T12:46:07.279" v="3540" actId="1582"/>
          <ac:cxnSpMkLst>
            <pc:docMk/>
            <pc:sldMk cId="500580820" sldId="441"/>
            <ac:cxnSpMk id="26" creationId="{5545D8A0-84B3-45F9-B4A1-1CE58FBB9338}"/>
          </ac:cxnSpMkLst>
        </pc:cxnChg>
        <pc:cxnChg chg="add mod">
          <ac:chgData name="Gintare Vitkauskaite" userId="fcee79df-4ed1-45d4-8c05-9b9f3354d122" providerId="ADAL" clId="{6313438A-E452-410F-953B-6968086203D6}" dt="2022-02-11T12:46:22.999" v="3545" actId="14100"/>
          <ac:cxnSpMkLst>
            <pc:docMk/>
            <pc:sldMk cId="500580820" sldId="441"/>
            <ac:cxnSpMk id="28" creationId="{59649F7F-6B9F-4101-8919-46808C544D5F}"/>
          </ac:cxnSpMkLst>
        </pc:cxnChg>
      </pc:sldChg>
      <pc:sldChg chg="addSp delSp modSp add mod">
        <pc:chgData name="Gintare Vitkauskaite" userId="fcee79df-4ed1-45d4-8c05-9b9f3354d122" providerId="ADAL" clId="{6313438A-E452-410F-953B-6968086203D6}" dt="2022-02-11T12:48:39.589" v="3570" actId="207"/>
        <pc:sldMkLst>
          <pc:docMk/>
          <pc:sldMk cId="1421444607" sldId="445"/>
        </pc:sldMkLst>
        <pc:spChg chg="add del mod">
          <ac:chgData name="Gintare Vitkauskaite" userId="fcee79df-4ed1-45d4-8c05-9b9f3354d122" providerId="ADAL" clId="{6313438A-E452-410F-953B-6968086203D6}" dt="2022-02-11T12:47:55.219" v="3566" actId="478"/>
          <ac:spMkLst>
            <pc:docMk/>
            <pc:sldMk cId="1421444607" sldId="445"/>
            <ac:spMk id="16" creationId="{4C5144CB-BBF4-4489-836D-77B7A16B0016}"/>
          </ac:spMkLst>
        </pc:spChg>
        <pc:spChg chg="del">
          <ac:chgData name="Gintare Vitkauskaite" userId="fcee79df-4ed1-45d4-8c05-9b9f3354d122" providerId="ADAL" clId="{6313438A-E452-410F-953B-6968086203D6}" dt="2022-02-11T12:48:00.429" v="3567" actId="478"/>
          <ac:spMkLst>
            <pc:docMk/>
            <pc:sldMk cId="1421444607" sldId="445"/>
            <ac:spMk id="18" creationId="{0BC6CA9D-8A12-4284-8751-0136588EDFA1}"/>
          </ac:spMkLst>
        </pc:spChg>
        <pc:spChg chg="add mod">
          <ac:chgData name="Gintare Vitkauskaite" userId="fcee79df-4ed1-45d4-8c05-9b9f3354d122" providerId="ADAL" clId="{6313438A-E452-410F-953B-6968086203D6}" dt="2022-02-11T12:47:27.979" v="3556" actId="1076"/>
          <ac:spMkLst>
            <pc:docMk/>
            <pc:sldMk cId="1421444607" sldId="445"/>
            <ac:spMk id="19" creationId="{E467A140-B7E8-46A2-B216-7E4387E6E2D4}"/>
          </ac:spMkLst>
        </pc:spChg>
        <pc:spChg chg="mod">
          <ac:chgData name="Gintare Vitkauskaite" userId="fcee79df-4ed1-45d4-8c05-9b9f3354d122" providerId="ADAL" clId="{6313438A-E452-410F-953B-6968086203D6}" dt="2022-02-11T12:48:39.589" v="3570" actId="207"/>
          <ac:spMkLst>
            <pc:docMk/>
            <pc:sldMk cId="1421444607" sldId="445"/>
            <ac:spMk id="23" creationId="{78950BE7-4820-41D8-A514-4F2D4D81319D}"/>
          </ac:spMkLst>
        </pc:spChg>
        <pc:spChg chg="add mod">
          <ac:chgData name="Gintare Vitkauskaite" userId="fcee79df-4ed1-45d4-8c05-9b9f3354d122" providerId="ADAL" clId="{6313438A-E452-410F-953B-6968086203D6}" dt="2022-02-11T12:47:53.009" v="3565" actId="1036"/>
          <ac:spMkLst>
            <pc:docMk/>
            <pc:sldMk cId="1421444607" sldId="445"/>
            <ac:spMk id="24" creationId="{6F8603B2-7D02-48EA-B8DB-6D4A849585C5}"/>
          </ac:spMkLst>
        </pc:spChg>
        <pc:spChg chg="mod">
          <ac:chgData name="Gintare Vitkauskaite" userId="fcee79df-4ed1-45d4-8c05-9b9f3354d122" providerId="ADAL" clId="{6313438A-E452-410F-953B-6968086203D6}" dt="2022-02-11T12:48:39.589" v="3570" actId="207"/>
          <ac:spMkLst>
            <pc:docMk/>
            <pc:sldMk cId="1421444607" sldId="445"/>
            <ac:spMk id="40" creationId="{7A4F7596-014D-4FEF-AF47-6E163A37FE3C}"/>
          </ac:spMkLst>
        </pc:spChg>
        <pc:spChg chg="mod">
          <ac:chgData name="Gintare Vitkauskaite" userId="fcee79df-4ed1-45d4-8c05-9b9f3354d122" providerId="ADAL" clId="{6313438A-E452-410F-953B-6968086203D6}" dt="2022-02-11T12:47:46.469" v="3561" actId="207"/>
          <ac:spMkLst>
            <pc:docMk/>
            <pc:sldMk cId="1421444607" sldId="445"/>
            <ac:spMk id="47" creationId="{2A830FF9-5090-4B04-8449-AD8528C0503B}"/>
          </ac:spMkLst>
        </pc:spChg>
        <pc:spChg chg="del mod">
          <ac:chgData name="Gintare Vitkauskaite" userId="fcee79df-4ed1-45d4-8c05-9b9f3354d122" providerId="ADAL" clId="{6313438A-E452-410F-953B-6968086203D6}" dt="2022-02-11T12:47:20.309" v="3554" actId="478"/>
          <ac:spMkLst>
            <pc:docMk/>
            <pc:sldMk cId="1421444607" sldId="445"/>
            <ac:spMk id="48" creationId="{49330149-D5AB-4AEC-BAA9-502770030AE3}"/>
          </ac:spMkLst>
        </pc:spChg>
      </pc:sldChg>
      <pc:sldChg chg="addSp delSp modSp new del mod">
        <pc:chgData name="Gintare Vitkauskaite" userId="fcee79df-4ed1-45d4-8c05-9b9f3354d122" providerId="ADAL" clId="{6313438A-E452-410F-953B-6968086203D6}" dt="2022-02-11T15:55:06.052" v="5918" actId="47"/>
        <pc:sldMkLst>
          <pc:docMk/>
          <pc:sldMk cId="2915267452" sldId="446"/>
        </pc:sldMkLst>
        <pc:spChg chg="del">
          <ac:chgData name="Gintare Vitkauskaite" userId="fcee79df-4ed1-45d4-8c05-9b9f3354d122" providerId="ADAL" clId="{6313438A-E452-410F-953B-6968086203D6}" dt="2022-02-11T12:52:09.873" v="3578" actId="478"/>
          <ac:spMkLst>
            <pc:docMk/>
            <pc:sldMk cId="2915267452" sldId="446"/>
            <ac:spMk id="2" creationId="{13EF3178-D261-4196-A8CF-AE8C68F6CA8A}"/>
          </ac:spMkLst>
        </pc:spChg>
        <pc:spChg chg="del">
          <ac:chgData name="Gintare Vitkauskaite" userId="fcee79df-4ed1-45d4-8c05-9b9f3354d122" providerId="ADAL" clId="{6313438A-E452-410F-953B-6968086203D6}" dt="2022-02-11T12:52:09.873" v="3578" actId="478"/>
          <ac:spMkLst>
            <pc:docMk/>
            <pc:sldMk cId="2915267452" sldId="446"/>
            <ac:spMk id="3" creationId="{0C3DF0BB-21B8-4B22-A264-AC233F89E5CE}"/>
          </ac:spMkLst>
        </pc:spChg>
        <pc:spChg chg="add mod">
          <ac:chgData name="Gintare Vitkauskaite" userId="fcee79df-4ed1-45d4-8c05-9b9f3354d122" providerId="ADAL" clId="{6313438A-E452-410F-953B-6968086203D6}" dt="2022-02-11T13:01:09.819" v="3734" actId="207"/>
          <ac:spMkLst>
            <pc:docMk/>
            <pc:sldMk cId="2915267452" sldId="446"/>
            <ac:spMk id="4" creationId="{35DD2BD4-2C59-4687-96FB-15ADE570F9CB}"/>
          </ac:spMkLst>
        </pc:spChg>
        <pc:spChg chg="add mod">
          <ac:chgData name="Gintare Vitkauskaite" userId="fcee79df-4ed1-45d4-8c05-9b9f3354d122" providerId="ADAL" clId="{6313438A-E452-410F-953B-6968086203D6}" dt="2022-02-11T13:01:03.160" v="3733" actId="1035"/>
          <ac:spMkLst>
            <pc:docMk/>
            <pc:sldMk cId="2915267452" sldId="446"/>
            <ac:spMk id="5" creationId="{247206C0-5D09-4092-9BF6-F83C998C8935}"/>
          </ac:spMkLst>
        </pc:spChg>
        <pc:spChg chg="add mod">
          <ac:chgData name="Gintare Vitkauskaite" userId="fcee79df-4ed1-45d4-8c05-9b9f3354d122" providerId="ADAL" clId="{6313438A-E452-410F-953B-6968086203D6}" dt="2022-02-11T13:01:03.160" v="3733" actId="1035"/>
          <ac:spMkLst>
            <pc:docMk/>
            <pc:sldMk cId="2915267452" sldId="446"/>
            <ac:spMk id="6" creationId="{44DCF309-A576-4E02-BDDC-16E658D2E8F8}"/>
          </ac:spMkLst>
        </pc:spChg>
        <pc:spChg chg="add mod">
          <ac:chgData name="Gintare Vitkauskaite" userId="fcee79df-4ed1-45d4-8c05-9b9f3354d122" providerId="ADAL" clId="{6313438A-E452-410F-953B-6968086203D6}" dt="2022-02-11T13:01:03.160" v="3733" actId="1035"/>
          <ac:spMkLst>
            <pc:docMk/>
            <pc:sldMk cId="2915267452" sldId="446"/>
            <ac:spMk id="7" creationId="{49FE8141-7AC9-4210-81A4-44D00BED890C}"/>
          </ac:spMkLst>
        </pc:spChg>
        <pc:spChg chg="add mod">
          <ac:chgData name="Gintare Vitkauskaite" userId="fcee79df-4ed1-45d4-8c05-9b9f3354d122" providerId="ADAL" clId="{6313438A-E452-410F-953B-6968086203D6}" dt="2022-02-11T13:00:57.560" v="3724"/>
          <ac:spMkLst>
            <pc:docMk/>
            <pc:sldMk cId="2915267452" sldId="446"/>
            <ac:spMk id="8" creationId="{D4BA0322-774D-45E2-995A-B7FBA65EA31F}"/>
          </ac:spMkLst>
        </pc:spChg>
        <pc:spChg chg="add mod">
          <ac:chgData name="Gintare Vitkauskaite" userId="fcee79df-4ed1-45d4-8c05-9b9f3354d122" providerId="ADAL" clId="{6313438A-E452-410F-953B-6968086203D6}" dt="2022-02-11T13:02:21.996" v="3802"/>
          <ac:spMkLst>
            <pc:docMk/>
            <pc:sldMk cId="2915267452" sldId="446"/>
            <ac:spMk id="9" creationId="{F51291C2-9857-4C2C-9471-AD0ABA154DCA}"/>
          </ac:spMkLst>
        </pc:spChg>
        <pc:spChg chg="add mod">
          <ac:chgData name="Gintare Vitkauskaite" userId="fcee79df-4ed1-45d4-8c05-9b9f3354d122" providerId="ADAL" clId="{6313438A-E452-410F-953B-6968086203D6}" dt="2022-02-11T13:10:11.471" v="3812" actId="20577"/>
          <ac:spMkLst>
            <pc:docMk/>
            <pc:sldMk cId="2915267452" sldId="446"/>
            <ac:spMk id="10" creationId="{C50B65FB-94CB-4D15-B8C3-846241FD7AC6}"/>
          </ac:spMkLst>
        </pc:spChg>
        <pc:spChg chg="add mod">
          <ac:chgData name="Gintare Vitkauskaite" userId="fcee79df-4ed1-45d4-8c05-9b9f3354d122" providerId="ADAL" clId="{6313438A-E452-410F-953B-6968086203D6}" dt="2022-02-11T13:10:40.444" v="3814" actId="1076"/>
          <ac:spMkLst>
            <pc:docMk/>
            <pc:sldMk cId="2915267452" sldId="446"/>
            <ac:spMk id="11" creationId="{DE9B2B0C-5A12-40E2-B0D1-B1E924B63216}"/>
          </ac:spMkLst>
        </pc:spChg>
      </pc:sldChg>
      <pc:sldChg chg="addSp delSp modSp mod">
        <pc:chgData name="Gintare Vitkauskaite" userId="fcee79df-4ed1-45d4-8c05-9b9f3354d122" providerId="ADAL" clId="{6313438A-E452-410F-953B-6968086203D6}" dt="2022-02-11T16:17:53.390" v="6032" actId="14100"/>
        <pc:sldMkLst>
          <pc:docMk/>
          <pc:sldMk cId="1109741991" sldId="447"/>
        </pc:sldMkLst>
        <pc:spChg chg="mod">
          <ac:chgData name="Gintare Vitkauskaite" userId="fcee79df-4ed1-45d4-8c05-9b9f3354d122" providerId="ADAL" clId="{6313438A-E452-410F-953B-6968086203D6}" dt="2022-02-11T16:16:00.147" v="5977" actId="242"/>
          <ac:spMkLst>
            <pc:docMk/>
            <pc:sldMk cId="1109741991" sldId="447"/>
            <ac:spMk id="12" creationId="{2A476A9C-E995-480E-8E94-35DA286ECA22}"/>
          </ac:spMkLst>
        </pc:spChg>
        <pc:spChg chg="add del">
          <ac:chgData name="Gintare Vitkauskaite" userId="fcee79df-4ed1-45d4-8c05-9b9f3354d122" providerId="ADAL" clId="{6313438A-E452-410F-953B-6968086203D6}" dt="2022-02-11T16:16:30.941" v="5980" actId="478"/>
          <ac:spMkLst>
            <pc:docMk/>
            <pc:sldMk cId="1109741991" sldId="447"/>
            <ac:spMk id="19" creationId="{A3D66BDC-30BA-41D7-A786-D9E0285E9759}"/>
          </ac:spMkLst>
        </pc:spChg>
        <pc:spChg chg="del">
          <ac:chgData name="Gintare Vitkauskaite" userId="fcee79df-4ed1-45d4-8c05-9b9f3354d122" providerId="ADAL" clId="{6313438A-E452-410F-953B-6968086203D6}" dt="2022-02-11T16:16:31.980" v="5981" actId="478"/>
          <ac:spMkLst>
            <pc:docMk/>
            <pc:sldMk cId="1109741991" sldId="447"/>
            <ac:spMk id="20" creationId="{C52D139E-35BF-409C-9EFB-8F78FBE2A78E}"/>
          </ac:spMkLst>
        </pc:spChg>
        <pc:spChg chg="add mod">
          <ac:chgData name="Gintare Vitkauskaite" userId="fcee79df-4ed1-45d4-8c05-9b9f3354d122" providerId="ADAL" clId="{6313438A-E452-410F-953B-6968086203D6}" dt="2022-02-11T16:17:46.286" v="6030" actId="14100"/>
          <ac:spMkLst>
            <pc:docMk/>
            <pc:sldMk cId="1109741991" sldId="447"/>
            <ac:spMk id="21" creationId="{C83ABA70-935D-4BE8-BAC1-33868F26E4A7}"/>
          </ac:spMkLst>
        </pc:spChg>
        <pc:spChg chg="add mod">
          <ac:chgData name="Gintare Vitkauskaite" userId="fcee79df-4ed1-45d4-8c05-9b9f3354d122" providerId="ADAL" clId="{6313438A-E452-410F-953B-6968086203D6}" dt="2022-02-11T16:17:53.390" v="6032" actId="14100"/>
          <ac:spMkLst>
            <pc:docMk/>
            <pc:sldMk cId="1109741991" sldId="447"/>
            <ac:spMk id="22" creationId="{E9D6F673-4AD2-43A8-BFC2-E3E5AD1A7776}"/>
          </ac:spMkLst>
        </pc:spChg>
        <pc:spChg chg="mod">
          <ac:chgData name="Gintare Vitkauskaite" userId="fcee79df-4ed1-45d4-8c05-9b9f3354d122" providerId="ADAL" clId="{6313438A-E452-410F-953B-6968086203D6}" dt="2022-02-11T16:16:00.147" v="5977" actId="242"/>
          <ac:spMkLst>
            <pc:docMk/>
            <pc:sldMk cId="1109741991" sldId="447"/>
            <ac:spMk id="33" creationId="{CB6C5C18-549F-4AB1-ABC9-FEE125152494}"/>
          </ac:spMkLst>
        </pc:spChg>
        <pc:spChg chg="mod">
          <ac:chgData name="Gintare Vitkauskaite" userId="fcee79df-4ed1-45d4-8c05-9b9f3354d122" providerId="ADAL" clId="{6313438A-E452-410F-953B-6968086203D6}" dt="2022-02-11T16:16:00.147" v="5977" actId="242"/>
          <ac:spMkLst>
            <pc:docMk/>
            <pc:sldMk cId="1109741991" sldId="447"/>
            <ac:spMk id="39" creationId="{E4B6382C-1478-43D6-921B-96F2A843BB7A}"/>
          </ac:spMkLst>
        </pc:spChg>
      </pc:sldChg>
      <pc:sldChg chg="addSp delSp modSp add mod">
        <pc:chgData name="Gintare Vitkauskaite" userId="fcee79df-4ed1-45d4-8c05-9b9f3354d122" providerId="ADAL" clId="{6313438A-E452-410F-953B-6968086203D6}" dt="2022-02-11T13:17:22.035" v="3830" actId="478"/>
        <pc:sldMkLst>
          <pc:docMk/>
          <pc:sldMk cId="3219543881" sldId="448"/>
        </pc:sldMkLst>
        <pc:spChg chg="add del mod">
          <ac:chgData name="Gintare Vitkauskaite" userId="fcee79df-4ed1-45d4-8c05-9b9f3354d122" providerId="ADAL" clId="{6313438A-E452-410F-953B-6968086203D6}" dt="2022-02-11T13:17:22.035" v="3830" actId="478"/>
          <ac:spMkLst>
            <pc:docMk/>
            <pc:sldMk cId="3219543881" sldId="448"/>
            <ac:spMk id="16" creationId="{B66FBCEF-5B43-4AA4-B0B2-E305BBE843CF}"/>
          </ac:spMkLst>
        </pc:spChg>
        <pc:spChg chg="add mod">
          <ac:chgData name="Gintare Vitkauskaite" userId="fcee79df-4ed1-45d4-8c05-9b9f3354d122" providerId="ADAL" clId="{6313438A-E452-410F-953B-6968086203D6}" dt="2022-02-11T13:17:09.821" v="3829" actId="14100"/>
          <ac:spMkLst>
            <pc:docMk/>
            <pc:sldMk cId="3219543881" sldId="448"/>
            <ac:spMk id="18" creationId="{B6D99254-F40B-42D7-BE4B-6EAEF2AD7273}"/>
          </ac:spMkLst>
        </pc:spChg>
        <pc:spChg chg="del">
          <ac:chgData name="Gintare Vitkauskaite" userId="fcee79df-4ed1-45d4-8c05-9b9f3354d122" providerId="ADAL" clId="{6313438A-E452-410F-953B-6968086203D6}" dt="2022-02-11T13:16:59.365" v="3826" actId="478"/>
          <ac:spMkLst>
            <pc:docMk/>
            <pc:sldMk cId="3219543881" sldId="448"/>
            <ac:spMk id="19" creationId="{E467A140-B7E8-46A2-B216-7E4387E6E2D4}"/>
          </ac:spMkLst>
        </pc:spChg>
        <pc:spChg chg="mod">
          <ac:chgData name="Gintare Vitkauskaite" userId="fcee79df-4ed1-45d4-8c05-9b9f3354d122" providerId="ADAL" clId="{6313438A-E452-410F-953B-6968086203D6}" dt="2022-02-11T13:17:06.123" v="3828" actId="207"/>
          <ac:spMkLst>
            <pc:docMk/>
            <pc:sldMk cId="3219543881" sldId="448"/>
            <ac:spMk id="24" creationId="{6F8603B2-7D02-48EA-B8DB-6D4A849585C5}"/>
          </ac:spMkLst>
        </pc:spChg>
        <pc:spChg chg="add mod">
          <ac:chgData name="Gintare Vitkauskaite" userId="fcee79df-4ed1-45d4-8c05-9b9f3354d122" providerId="ADAL" clId="{6313438A-E452-410F-953B-6968086203D6}" dt="2022-02-11T13:16:50.195" v="3824" actId="207"/>
          <ac:spMkLst>
            <pc:docMk/>
            <pc:sldMk cId="3219543881" sldId="448"/>
            <ac:spMk id="25" creationId="{96A1B951-F744-4406-9504-FBFF13B65E2D}"/>
          </ac:spMkLst>
        </pc:spChg>
        <pc:spChg chg="mod">
          <ac:chgData name="Gintare Vitkauskaite" userId="fcee79df-4ed1-45d4-8c05-9b9f3354d122" providerId="ADAL" clId="{6313438A-E452-410F-953B-6968086203D6}" dt="2022-02-11T13:16:50.195" v="3824" actId="207"/>
          <ac:spMkLst>
            <pc:docMk/>
            <pc:sldMk cId="3219543881" sldId="448"/>
            <ac:spMk id="38" creationId="{CE778F19-9973-4789-8210-501FEA8641BC}"/>
          </ac:spMkLst>
        </pc:spChg>
        <pc:spChg chg="mod">
          <ac:chgData name="Gintare Vitkauskaite" userId="fcee79df-4ed1-45d4-8c05-9b9f3354d122" providerId="ADAL" clId="{6313438A-E452-410F-953B-6968086203D6}" dt="2022-02-11T13:17:06.123" v="3828" actId="207"/>
          <ac:spMkLst>
            <pc:docMk/>
            <pc:sldMk cId="3219543881" sldId="448"/>
            <ac:spMk id="47" creationId="{2A830FF9-5090-4B04-8449-AD8528C0503B}"/>
          </ac:spMkLst>
        </pc:spChg>
      </pc:sldChg>
      <pc:sldChg chg="modSp mod">
        <pc:chgData name="Gintare Vitkauskaite" userId="fcee79df-4ed1-45d4-8c05-9b9f3354d122" providerId="ADAL" clId="{6313438A-E452-410F-953B-6968086203D6}" dt="2022-02-11T16:18:31.546" v="6034" actId="242"/>
        <pc:sldMkLst>
          <pc:docMk/>
          <pc:sldMk cId="3491903191" sldId="449"/>
        </pc:sldMkLst>
        <pc:spChg chg="mod">
          <ac:chgData name="Gintare Vitkauskaite" userId="fcee79df-4ed1-45d4-8c05-9b9f3354d122" providerId="ADAL" clId="{6313438A-E452-410F-953B-6968086203D6}" dt="2022-02-11T16:18:31.546" v="6034" actId="242"/>
          <ac:spMkLst>
            <pc:docMk/>
            <pc:sldMk cId="3491903191" sldId="449"/>
            <ac:spMk id="12" creationId="{2A476A9C-E995-480E-8E94-35DA286ECA22}"/>
          </ac:spMkLst>
        </pc:spChg>
        <pc:spChg chg="mod">
          <ac:chgData name="Gintare Vitkauskaite" userId="fcee79df-4ed1-45d4-8c05-9b9f3354d122" providerId="ADAL" clId="{6313438A-E452-410F-953B-6968086203D6}" dt="2022-02-11T16:18:31.546" v="6034" actId="242"/>
          <ac:spMkLst>
            <pc:docMk/>
            <pc:sldMk cId="3491903191" sldId="449"/>
            <ac:spMk id="33" creationId="{CB6C5C18-549F-4AB1-ABC9-FEE125152494}"/>
          </ac:spMkLst>
        </pc:spChg>
        <pc:spChg chg="mod">
          <ac:chgData name="Gintare Vitkauskaite" userId="fcee79df-4ed1-45d4-8c05-9b9f3354d122" providerId="ADAL" clId="{6313438A-E452-410F-953B-6968086203D6}" dt="2022-02-11T16:18:31.546" v="6034" actId="242"/>
          <ac:spMkLst>
            <pc:docMk/>
            <pc:sldMk cId="3491903191" sldId="449"/>
            <ac:spMk id="39" creationId="{E4B6382C-1478-43D6-921B-96F2A843BB7A}"/>
          </ac:spMkLst>
        </pc:spChg>
      </pc:sldChg>
      <pc:sldChg chg="addSp delSp modSp new mod">
        <pc:chgData name="Gintare Vitkauskaite" userId="fcee79df-4ed1-45d4-8c05-9b9f3354d122" providerId="ADAL" clId="{6313438A-E452-410F-953B-6968086203D6}" dt="2022-02-11T14:57:59.633" v="5493" actId="1038"/>
        <pc:sldMkLst>
          <pc:docMk/>
          <pc:sldMk cId="1887488718" sldId="450"/>
        </pc:sldMkLst>
        <pc:spChg chg="mod">
          <ac:chgData name="Gintare Vitkauskaite" userId="fcee79df-4ed1-45d4-8c05-9b9f3354d122" providerId="ADAL" clId="{6313438A-E452-410F-953B-6968086203D6}" dt="2022-02-11T14:42:34.452" v="5096" actId="20577"/>
          <ac:spMkLst>
            <pc:docMk/>
            <pc:sldMk cId="1887488718" sldId="450"/>
            <ac:spMk id="2" creationId="{956F9DAE-868B-4622-98C1-EC77E56D0CE6}"/>
          </ac:spMkLst>
        </pc:spChg>
        <pc:spChg chg="del">
          <ac:chgData name="Gintare Vitkauskaite" userId="fcee79df-4ed1-45d4-8c05-9b9f3354d122" providerId="ADAL" clId="{6313438A-E452-410F-953B-6968086203D6}" dt="2022-02-11T13:32:56.870" v="4114" actId="478"/>
          <ac:spMkLst>
            <pc:docMk/>
            <pc:sldMk cId="1887488718" sldId="450"/>
            <ac:spMk id="3" creationId="{213AF31A-DDAE-4B5E-9623-F0F293BD69EE}"/>
          </ac:spMkLst>
        </pc:spChg>
        <pc:spChg chg="add del mod">
          <ac:chgData name="Gintare Vitkauskaite" userId="fcee79df-4ed1-45d4-8c05-9b9f3354d122" providerId="ADAL" clId="{6313438A-E452-410F-953B-6968086203D6}" dt="2022-02-11T13:51:47.289" v="4180" actId="478"/>
          <ac:spMkLst>
            <pc:docMk/>
            <pc:sldMk cId="1887488718" sldId="450"/>
            <ac:spMk id="4" creationId="{93D63853-6C44-4A9A-9B51-7E12CA66C704}"/>
          </ac:spMkLst>
        </pc:spChg>
        <pc:spChg chg="add del mod">
          <ac:chgData name="Gintare Vitkauskaite" userId="fcee79df-4ed1-45d4-8c05-9b9f3354d122" providerId="ADAL" clId="{6313438A-E452-410F-953B-6968086203D6}" dt="2022-02-11T13:51:47.289" v="4180" actId="478"/>
          <ac:spMkLst>
            <pc:docMk/>
            <pc:sldMk cId="1887488718" sldId="450"/>
            <ac:spMk id="5" creationId="{ED4D1EAE-CE39-4108-AC72-A56802BA7E1D}"/>
          </ac:spMkLst>
        </pc:spChg>
        <pc:spChg chg="add mod">
          <ac:chgData name="Gintare Vitkauskaite" userId="fcee79df-4ed1-45d4-8c05-9b9f3354d122" providerId="ADAL" clId="{6313438A-E452-410F-953B-6968086203D6}" dt="2022-02-11T14:42:13.094" v="5013" actId="1036"/>
          <ac:spMkLst>
            <pc:docMk/>
            <pc:sldMk cId="1887488718" sldId="450"/>
            <ac:spMk id="6" creationId="{4287DFDC-6891-4312-AB0D-DFDAB3A57D1B}"/>
          </ac:spMkLst>
        </pc:spChg>
        <pc:spChg chg="add mod">
          <ac:chgData name="Gintare Vitkauskaite" userId="fcee79df-4ed1-45d4-8c05-9b9f3354d122" providerId="ADAL" clId="{6313438A-E452-410F-953B-6968086203D6}" dt="2022-02-11T14:42:13.094" v="5013" actId="1036"/>
          <ac:spMkLst>
            <pc:docMk/>
            <pc:sldMk cId="1887488718" sldId="450"/>
            <ac:spMk id="7" creationId="{258B0589-7C30-4F31-A803-1F9D500F5931}"/>
          </ac:spMkLst>
        </pc:spChg>
        <pc:spChg chg="add mod">
          <ac:chgData name="Gintare Vitkauskaite" userId="fcee79df-4ed1-45d4-8c05-9b9f3354d122" providerId="ADAL" clId="{6313438A-E452-410F-953B-6968086203D6}" dt="2022-02-11T14:42:13.094" v="5013" actId="1036"/>
          <ac:spMkLst>
            <pc:docMk/>
            <pc:sldMk cId="1887488718" sldId="450"/>
            <ac:spMk id="8" creationId="{2E9A204C-9403-42BE-9774-5BDCF004CA2D}"/>
          </ac:spMkLst>
        </pc:spChg>
        <pc:spChg chg="add mod">
          <ac:chgData name="Gintare Vitkauskaite" userId="fcee79df-4ed1-45d4-8c05-9b9f3354d122" providerId="ADAL" clId="{6313438A-E452-410F-953B-6968086203D6}" dt="2022-02-11T14:42:13.094" v="5013" actId="1036"/>
          <ac:spMkLst>
            <pc:docMk/>
            <pc:sldMk cId="1887488718" sldId="450"/>
            <ac:spMk id="9" creationId="{B94384C2-6507-4374-B83D-9E7BC89965BE}"/>
          </ac:spMkLst>
        </pc:spChg>
        <pc:spChg chg="add mod">
          <ac:chgData name="Gintare Vitkauskaite" userId="fcee79df-4ed1-45d4-8c05-9b9f3354d122" providerId="ADAL" clId="{6313438A-E452-410F-953B-6968086203D6}" dt="2022-02-11T14:57:30.906" v="5470" actId="1036"/>
          <ac:spMkLst>
            <pc:docMk/>
            <pc:sldMk cId="1887488718" sldId="450"/>
            <ac:spMk id="10" creationId="{2767DE98-492D-4A5C-BA9A-3B60C964CA64}"/>
          </ac:spMkLst>
        </pc:spChg>
        <pc:spChg chg="add mod">
          <ac:chgData name="Gintare Vitkauskaite" userId="fcee79df-4ed1-45d4-8c05-9b9f3354d122" providerId="ADAL" clId="{6313438A-E452-410F-953B-6968086203D6}" dt="2022-02-11T14:42:13.094" v="5013" actId="1036"/>
          <ac:spMkLst>
            <pc:docMk/>
            <pc:sldMk cId="1887488718" sldId="450"/>
            <ac:spMk id="11" creationId="{FEE7C165-4F3D-4C73-942B-677331F0C203}"/>
          </ac:spMkLst>
        </pc:spChg>
        <pc:spChg chg="add mod">
          <ac:chgData name="Gintare Vitkauskaite" userId="fcee79df-4ed1-45d4-8c05-9b9f3354d122" providerId="ADAL" clId="{6313438A-E452-410F-953B-6968086203D6}" dt="2022-02-11T14:42:13.094" v="5013" actId="1036"/>
          <ac:spMkLst>
            <pc:docMk/>
            <pc:sldMk cId="1887488718" sldId="450"/>
            <ac:spMk id="12" creationId="{7D3477EB-F56F-4218-9334-C7BCC67720CB}"/>
          </ac:spMkLst>
        </pc:spChg>
        <pc:spChg chg="mod">
          <ac:chgData name="Gintare Vitkauskaite" userId="fcee79df-4ed1-45d4-8c05-9b9f3354d122" providerId="ADAL" clId="{6313438A-E452-410F-953B-6968086203D6}" dt="2022-02-11T14:41:58.546" v="4935" actId="1035"/>
          <ac:spMkLst>
            <pc:docMk/>
            <pc:sldMk cId="1887488718" sldId="450"/>
            <ac:spMk id="18" creationId="{94BEF6FE-9992-423C-A70E-B8BB7E646F7C}"/>
          </ac:spMkLst>
        </pc:spChg>
        <pc:spChg chg="mod">
          <ac:chgData name="Gintare Vitkauskaite" userId="fcee79df-4ed1-45d4-8c05-9b9f3354d122" providerId="ADAL" clId="{6313438A-E452-410F-953B-6968086203D6}" dt="2022-02-11T14:41:58.546" v="4935" actId="1035"/>
          <ac:spMkLst>
            <pc:docMk/>
            <pc:sldMk cId="1887488718" sldId="450"/>
            <ac:spMk id="19" creationId="{A1FDC52B-1D29-46EB-8F69-97487A5F16D9}"/>
          </ac:spMkLst>
        </pc:spChg>
        <pc:spChg chg="del mod">
          <ac:chgData name="Gintare Vitkauskaite" userId="fcee79df-4ed1-45d4-8c05-9b9f3354d122" providerId="ADAL" clId="{6313438A-E452-410F-953B-6968086203D6}" dt="2022-02-11T14:18:08.713" v="4385" actId="478"/>
          <ac:spMkLst>
            <pc:docMk/>
            <pc:sldMk cId="1887488718" sldId="450"/>
            <ac:spMk id="20" creationId="{908D6959-094A-4328-BD4B-E727CAAD2936}"/>
          </ac:spMkLst>
        </pc:spChg>
        <pc:spChg chg="mod">
          <ac:chgData name="Gintare Vitkauskaite" userId="fcee79df-4ed1-45d4-8c05-9b9f3354d122" providerId="ADAL" clId="{6313438A-E452-410F-953B-6968086203D6}" dt="2022-02-11T14:41:58.546" v="4935" actId="1035"/>
          <ac:spMkLst>
            <pc:docMk/>
            <pc:sldMk cId="1887488718" sldId="450"/>
            <ac:spMk id="21" creationId="{FECF99FC-30AA-42A5-ADB8-736A8D88C1E3}"/>
          </ac:spMkLst>
        </pc:spChg>
        <pc:spChg chg="mod">
          <ac:chgData name="Gintare Vitkauskaite" userId="fcee79df-4ed1-45d4-8c05-9b9f3354d122" providerId="ADAL" clId="{6313438A-E452-410F-953B-6968086203D6}" dt="2022-02-11T14:41:58.546" v="4935" actId="1035"/>
          <ac:spMkLst>
            <pc:docMk/>
            <pc:sldMk cId="1887488718" sldId="450"/>
            <ac:spMk id="22" creationId="{79BAFC15-4BE7-4B49-BA4B-DEDF5D34E0D1}"/>
          </ac:spMkLst>
        </pc:spChg>
        <pc:spChg chg="mod">
          <ac:chgData name="Gintare Vitkauskaite" userId="fcee79df-4ed1-45d4-8c05-9b9f3354d122" providerId="ADAL" clId="{6313438A-E452-410F-953B-6968086203D6}" dt="2022-02-11T14:41:58.546" v="4935" actId="1035"/>
          <ac:spMkLst>
            <pc:docMk/>
            <pc:sldMk cId="1887488718" sldId="450"/>
            <ac:spMk id="23" creationId="{C23886BE-77F2-4437-A158-ACFB04904D0B}"/>
          </ac:spMkLst>
        </pc:spChg>
        <pc:spChg chg="mod">
          <ac:chgData name="Gintare Vitkauskaite" userId="fcee79df-4ed1-45d4-8c05-9b9f3354d122" providerId="ADAL" clId="{6313438A-E452-410F-953B-6968086203D6}" dt="2022-02-11T14:41:58.546" v="4935" actId="1035"/>
          <ac:spMkLst>
            <pc:docMk/>
            <pc:sldMk cId="1887488718" sldId="450"/>
            <ac:spMk id="24" creationId="{09DE74AB-D45A-4FEC-AFA5-0195549FD51D}"/>
          </ac:spMkLst>
        </pc:spChg>
        <pc:spChg chg="add mod">
          <ac:chgData name="Gintare Vitkauskaite" userId="fcee79df-4ed1-45d4-8c05-9b9f3354d122" providerId="ADAL" clId="{6313438A-E452-410F-953B-6968086203D6}" dt="2022-02-11T14:57:48.811" v="5478" actId="1038"/>
          <ac:spMkLst>
            <pc:docMk/>
            <pc:sldMk cId="1887488718" sldId="450"/>
            <ac:spMk id="26" creationId="{250FFFFE-E5B1-42C2-B530-4AFAEE885293}"/>
          </ac:spMkLst>
        </pc:spChg>
        <pc:spChg chg="add mod">
          <ac:chgData name="Gintare Vitkauskaite" userId="fcee79df-4ed1-45d4-8c05-9b9f3354d122" providerId="ADAL" clId="{6313438A-E452-410F-953B-6968086203D6}" dt="2022-02-11T14:57:48.811" v="5478" actId="1038"/>
          <ac:spMkLst>
            <pc:docMk/>
            <pc:sldMk cId="1887488718" sldId="450"/>
            <ac:spMk id="27" creationId="{3DC704CE-9F82-4A2C-A7F3-013906D42620}"/>
          </ac:spMkLst>
        </pc:spChg>
        <pc:spChg chg="add mod ord">
          <ac:chgData name="Gintare Vitkauskaite" userId="fcee79df-4ed1-45d4-8c05-9b9f3354d122" providerId="ADAL" clId="{6313438A-E452-410F-953B-6968086203D6}" dt="2022-02-11T14:41:58.546" v="4935" actId="1035"/>
          <ac:spMkLst>
            <pc:docMk/>
            <pc:sldMk cId="1887488718" sldId="450"/>
            <ac:spMk id="30" creationId="{D6BB6ACC-DC1F-403E-9A5B-7841E2F6B2DD}"/>
          </ac:spMkLst>
        </pc:spChg>
        <pc:spChg chg="mod">
          <ac:chgData name="Gintare Vitkauskaite" userId="fcee79df-4ed1-45d4-8c05-9b9f3354d122" providerId="ADAL" clId="{6313438A-E452-410F-953B-6968086203D6}" dt="2022-02-11T14:41:58.546" v="4935" actId="1035"/>
          <ac:spMkLst>
            <pc:docMk/>
            <pc:sldMk cId="1887488718" sldId="450"/>
            <ac:spMk id="32" creationId="{C7079C07-1E13-4310-B39A-1A9171C209D7}"/>
          </ac:spMkLst>
        </pc:spChg>
        <pc:spChg chg="mod">
          <ac:chgData name="Gintare Vitkauskaite" userId="fcee79df-4ed1-45d4-8c05-9b9f3354d122" providerId="ADAL" clId="{6313438A-E452-410F-953B-6968086203D6}" dt="2022-02-11T14:41:58.546" v="4935" actId="1035"/>
          <ac:spMkLst>
            <pc:docMk/>
            <pc:sldMk cId="1887488718" sldId="450"/>
            <ac:spMk id="33" creationId="{DCA3890C-83EE-4E6D-AB92-811226B28FCA}"/>
          </ac:spMkLst>
        </pc:spChg>
        <pc:spChg chg="mod">
          <ac:chgData name="Gintare Vitkauskaite" userId="fcee79df-4ed1-45d4-8c05-9b9f3354d122" providerId="ADAL" clId="{6313438A-E452-410F-953B-6968086203D6}" dt="2022-02-11T14:41:58.546" v="4935" actId="1035"/>
          <ac:spMkLst>
            <pc:docMk/>
            <pc:sldMk cId="1887488718" sldId="450"/>
            <ac:spMk id="34" creationId="{CD9D92C9-0793-4A40-BD0F-115A0C11D0EA}"/>
          </ac:spMkLst>
        </pc:spChg>
        <pc:spChg chg="mod">
          <ac:chgData name="Gintare Vitkauskaite" userId="fcee79df-4ed1-45d4-8c05-9b9f3354d122" providerId="ADAL" clId="{6313438A-E452-410F-953B-6968086203D6}" dt="2022-02-11T14:41:58.546" v="4935" actId="1035"/>
          <ac:spMkLst>
            <pc:docMk/>
            <pc:sldMk cId="1887488718" sldId="450"/>
            <ac:spMk id="35" creationId="{9E18BDFF-233E-45A2-B90E-920A519CD4EA}"/>
          </ac:spMkLst>
        </pc:spChg>
        <pc:spChg chg="mod">
          <ac:chgData name="Gintare Vitkauskaite" userId="fcee79df-4ed1-45d4-8c05-9b9f3354d122" providerId="ADAL" clId="{6313438A-E452-410F-953B-6968086203D6}" dt="2022-02-11T14:41:58.546" v="4935" actId="1035"/>
          <ac:spMkLst>
            <pc:docMk/>
            <pc:sldMk cId="1887488718" sldId="450"/>
            <ac:spMk id="36" creationId="{AC1A09E0-0581-48E4-AE75-CE9F642D65D2}"/>
          </ac:spMkLst>
        </pc:spChg>
        <pc:spChg chg="mod">
          <ac:chgData name="Gintare Vitkauskaite" userId="fcee79df-4ed1-45d4-8c05-9b9f3354d122" providerId="ADAL" clId="{6313438A-E452-410F-953B-6968086203D6}" dt="2022-02-11T14:41:58.546" v="4935" actId="1035"/>
          <ac:spMkLst>
            <pc:docMk/>
            <pc:sldMk cId="1887488718" sldId="450"/>
            <ac:spMk id="37" creationId="{62009ECB-E68D-40D2-8713-92868BB4EB8F}"/>
          </ac:spMkLst>
        </pc:spChg>
        <pc:spChg chg="mod">
          <ac:chgData name="Gintare Vitkauskaite" userId="fcee79df-4ed1-45d4-8c05-9b9f3354d122" providerId="ADAL" clId="{6313438A-E452-410F-953B-6968086203D6}" dt="2022-02-11T14:41:58.546" v="4935" actId="1035"/>
          <ac:spMkLst>
            <pc:docMk/>
            <pc:sldMk cId="1887488718" sldId="450"/>
            <ac:spMk id="38" creationId="{D7A9968B-AFF2-47A9-8F2A-C454AE4056E4}"/>
          </ac:spMkLst>
        </pc:spChg>
        <pc:spChg chg="add mod">
          <ac:chgData name="Gintare Vitkauskaite" userId="fcee79df-4ed1-45d4-8c05-9b9f3354d122" providerId="ADAL" clId="{6313438A-E452-410F-953B-6968086203D6}" dt="2022-02-11T14:57:55.435" v="5486" actId="1037"/>
          <ac:spMkLst>
            <pc:docMk/>
            <pc:sldMk cId="1887488718" sldId="450"/>
            <ac:spMk id="40" creationId="{80E4F083-B88A-477B-B5EF-14CA133C26D8}"/>
          </ac:spMkLst>
        </pc:spChg>
        <pc:spChg chg="mod">
          <ac:chgData name="Gintare Vitkauskaite" userId="fcee79df-4ed1-45d4-8c05-9b9f3354d122" providerId="ADAL" clId="{6313438A-E452-410F-953B-6968086203D6}" dt="2022-02-11T14:41:58.546" v="4935" actId="1035"/>
          <ac:spMkLst>
            <pc:docMk/>
            <pc:sldMk cId="1887488718" sldId="450"/>
            <ac:spMk id="42" creationId="{2AF1AF56-1E81-4BD4-8309-6ABAB6D160CA}"/>
          </ac:spMkLst>
        </pc:spChg>
        <pc:spChg chg="mod">
          <ac:chgData name="Gintare Vitkauskaite" userId="fcee79df-4ed1-45d4-8c05-9b9f3354d122" providerId="ADAL" clId="{6313438A-E452-410F-953B-6968086203D6}" dt="2022-02-11T14:41:58.546" v="4935" actId="1035"/>
          <ac:spMkLst>
            <pc:docMk/>
            <pc:sldMk cId="1887488718" sldId="450"/>
            <ac:spMk id="43" creationId="{FBCD7DBD-1B76-4B6D-B5B6-7F4F92ED6754}"/>
          </ac:spMkLst>
        </pc:spChg>
        <pc:spChg chg="mod">
          <ac:chgData name="Gintare Vitkauskaite" userId="fcee79df-4ed1-45d4-8c05-9b9f3354d122" providerId="ADAL" clId="{6313438A-E452-410F-953B-6968086203D6}" dt="2022-02-11T14:41:58.546" v="4935" actId="1035"/>
          <ac:spMkLst>
            <pc:docMk/>
            <pc:sldMk cId="1887488718" sldId="450"/>
            <ac:spMk id="44" creationId="{7413FAAA-2328-4095-BA29-7DDD56F770C1}"/>
          </ac:spMkLst>
        </pc:spChg>
        <pc:spChg chg="mod">
          <ac:chgData name="Gintare Vitkauskaite" userId="fcee79df-4ed1-45d4-8c05-9b9f3354d122" providerId="ADAL" clId="{6313438A-E452-410F-953B-6968086203D6}" dt="2022-02-11T14:41:58.546" v="4935" actId="1035"/>
          <ac:spMkLst>
            <pc:docMk/>
            <pc:sldMk cId="1887488718" sldId="450"/>
            <ac:spMk id="45" creationId="{040F4603-D21A-44BD-9161-354F094CEE32}"/>
          </ac:spMkLst>
        </pc:spChg>
        <pc:spChg chg="mod">
          <ac:chgData name="Gintare Vitkauskaite" userId="fcee79df-4ed1-45d4-8c05-9b9f3354d122" providerId="ADAL" clId="{6313438A-E452-410F-953B-6968086203D6}" dt="2022-02-11T14:41:58.546" v="4935" actId="1035"/>
          <ac:spMkLst>
            <pc:docMk/>
            <pc:sldMk cId="1887488718" sldId="450"/>
            <ac:spMk id="46" creationId="{34101134-AB64-4992-A757-BACC1BE09FB7}"/>
          </ac:spMkLst>
        </pc:spChg>
        <pc:spChg chg="mod">
          <ac:chgData name="Gintare Vitkauskaite" userId="fcee79df-4ed1-45d4-8c05-9b9f3354d122" providerId="ADAL" clId="{6313438A-E452-410F-953B-6968086203D6}" dt="2022-02-11T14:41:58.546" v="4935" actId="1035"/>
          <ac:spMkLst>
            <pc:docMk/>
            <pc:sldMk cId="1887488718" sldId="450"/>
            <ac:spMk id="47" creationId="{AD55D9A5-249C-4CBF-8807-F3A22A0B9994}"/>
          </ac:spMkLst>
        </pc:spChg>
        <pc:spChg chg="mod">
          <ac:chgData name="Gintare Vitkauskaite" userId="fcee79df-4ed1-45d4-8c05-9b9f3354d122" providerId="ADAL" clId="{6313438A-E452-410F-953B-6968086203D6}" dt="2022-02-11T14:41:58.546" v="4935" actId="1035"/>
          <ac:spMkLst>
            <pc:docMk/>
            <pc:sldMk cId="1887488718" sldId="450"/>
            <ac:spMk id="48" creationId="{DD89B6EB-201F-4CC9-984F-42B918553CE2}"/>
          </ac:spMkLst>
        </pc:spChg>
        <pc:spChg chg="add mod">
          <ac:chgData name="Gintare Vitkauskaite" userId="fcee79df-4ed1-45d4-8c05-9b9f3354d122" providerId="ADAL" clId="{6313438A-E452-410F-953B-6968086203D6}" dt="2022-02-11T14:57:59.633" v="5493" actId="1038"/>
          <ac:spMkLst>
            <pc:docMk/>
            <pc:sldMk cId="1887488718" sldId="450"/>
            <ac:spMk id="50" creationId="{1D19F7C9-B163-44ED-BBE7-CFF11E323847}"/>
          </ac:spMkLst>
        </pc:spChg>
        <pc:spChg chg="add mod">
          <ac:chgData name="Gintare Vitkauskaite" userId="fcee79df-4ed1-45d4-8c05-9b9f3354d122" providerId="ADAL" clId="{6313438A-E452-410F-953B-6968086203D6}" dt="2022-02-11T14:42:47.063" v="5101" actId="1035"/>
          <ac:spMkLst>
            <pc:docMk/>
            <pc:sldMk cId="1887488718" sldId="450"/>
            <ac:spMk id="53" creationId="{835D8355-C57F-4DA2-976E-2BA8C113AE98}"/>
          </ac:spMkLst>
        </pc:spChg>
        <pc:grpChg chg="add mod">
          <ac:chgData name="Gintare Vitkauskaite" userId="fcee79df-4ed1-45d4-8c05-9b9f3354d122" providerId="ADAL" clId="{6313438A-E452-410F-953B-6968086203D6}" dt="2022-02-11T14:42:13.094" v="5013" actId="1036"/>
          <ac:grpSpMkLst>
            <pc:docMk/>
            <pc:sldMk cId="1887488718" sldId="450"/>
            <ac:grpSpMk id="14" creationId="{7981442F-8281-4C7F-93AA-CCC062989890}"/>
          </ac:grpSpMkLst>
        </pc:grpChg>
        <pc:grpChg chg="add mod">
          <ac:chgData name="Gintare Vitkauskaite" userId="fcee79df-4ed1-45d4-8c05-9b9f3354d122" providerId="ADAL" clId="{6313438A-E452-410F-953B-6968086203D6}" dt="2022-02-11T14:41:58.546" v="4935" actId="1035"/>
          <ac:grpSpMkLst>
            <pc:docMk/>
            <pc:sldMk cId="1887488718" sldId="450"/>
            <ac:grpSpMk id="17" creationId="{6583C684-1648-4926-97CF-DB20C83EED0D}"/>
          </ac:grpSpMkLst>
        </pc:grpChg>
        <pc:grpChg chg="add mod">
          <ac:chgData name="Gintare Vitkauskaite" userId="fcee79df-4ed1-45d4-8c05-9b9f3354d122" providerId="ADAL" clId="{6313438A-E452-410F-953B-6968086203D6}" dt="2022-02-11T14:41:58.546" v="4935" actId="1035"/>
          <ac:grpSpMkLst>
            <pc:docMk/>
            <pc:sldMk cId="1887488718" sldId="450"/>
            <ac:grpSpMk id="31" creationId="{B75CDC15-3B64-492D-AB46-A14C3558B811}"/>
          </ac:grpSpMkLst>
        </pc:grpChg>
        <pc:grpChg chg="add mod">
          <ac:chgData name="Gintare Vitkauskaite" userId="fcee79df-4ed1-45d4-8c05-9b9f3354d122" providerId="ADAL" clId="{6313438A-E452-410F-953B-6968086203D6}" dt="2022-02-11T14:41:58.546" v="4935" actId="1035"/>
          <ac:grpSpMkLst>
            <pc:docMk/>
            <pc:sldMk cId="1887488718" sldId="450"/>
            <ac:grpSpMk id="41" creationId="{20181833-5D52-45B1-82E7-4B36A9354283}"/>
          </ac:grpSpMkLst>
        </pc:grpChg>
        <pc:picChg chg="add del mod">
          <ac:chgData name="Gintare Vitkauskaite" userId="fcee79df-4ed1-45d4-8c05-9b9f3354d122" providerId="ADAL" clId="{6313438A-E452-410F-953B-6968086203D6}" dt="2022-02-11T13:41:05.806" v="4171" actId="478"/>
          <ac:picMkLst>
            <pc:docMk/>
            <pc:sldMk cId="1887488718" sldId="450"/>
            <ac:picMk id="13" creationId="{FAE0F9F5-9F02-4899-BA22-A58D30EB7D71}"/>
          </ac:picMkLst>
        </pc:picChg>
        <pc:picChg chg="add mod">
          <ac:chgData name="Gintare Vitkauskaite" userId="fcee79df-4ed1-45d4-8c05-9b9f3354d122" providerId="ADAL" clId="{6313438A-E452-410F-953B-6968086203D6}" dt="2022-02-11T14:42:13.094" v="5013" actId="1036"/>
          <ac:picMkLst>
            <pc:docMk/>
            <pc:sldMk cId="1887488718" sldId="450"/>
            <ac:picMk id="16" creationId="{803E5D77-AC80-4A3B-9BE7-B66DC7C3B4DF}"/>
          </ac:picMkLst>
        </pc:picChg>
        <pc:picChg chg="add del mod">
          <ac:chgData name="Gintare Vitkauskaite" userId="fcee79df-4ed1-45d4-8c05-9b9f3354d122" providerId="ADAL" clId="{6313438A-E452-410F-953B-6968086203D6}" dt="2022-02-11T13:55:24.798" v="4214" actId="478"/>
          <ac:picMkLst>
            <pc:docMk/>
            <pc:sldMk cId="1887488718" sldId="450"/>
            <ac:picMk id="25" creationId="{06964660-332A-4343-A690-90332787C507}"/>
          </ac:picMkLst>
        </pc:picChg>
        <pc:picChg chg="add mod">
          <ac:chgData name="Gintare Vitkauskaite" userId="fcee79df-4ed1-45d4-8c05-9b9f3354d122" providerId="ADAL" clId="{6313438A-E452-410F-953B-6968086203D6}" dt="2022-02-11T14:41:58.546" v="4935" actId="1035"/>
          <ac:picMkLst>
            <pc:docMk/>
            <pc:sldMk cId="1887488718" sldId="450"/>
            <ac:picMk id="29" creationId="{4A0B8E8A-6C0D-4ADB-9078-1384E6F9F8BB}"/>
          </ac:picMkLst>
        </pc:picChg>
        <pc:picChg chg="add mod">
          <ac:chgData name="Gintare Vitkauskaite" userId="fcee79df-4ed1-45d4-8c05-9b9f3354d122" providerId="ADAL" clId="{6313438A-E452-410F-953B-6968086203D6}" dt="2022-02-11T14:41:58.546" v="4935" actId="1035"/>
          <ac:picMkLst>
            <pc:docMk/>
            <pc:sldMk cId="1887488718" sldId="450"/>
            <ac:picMk id="39" creationId="{AA01C22D-A0E5-41DF-A87E-A8BA362CFB2C}"/>
          </ac:picMkLst>
        </pc:picChg>
        <pc:picChg chg="add del mod">
          <ac:chgData name="Gintare Vitkauskaite" userId="fcee79df-4ed1-45d4-8c05-9b9f3354d122" providerId="ADAL" clId="{6313438A-E452-410F-953B-6968086203D6}" dt="2022-02-11T14:37:10.050" v="4697" actId="478"/>
          <ac:picMkLst>
            <pc:docMk/>
            <pc:sldMk cId="1887488718" sldId="450"/>
            <ac:picMk id="49" creationId="{E73C4668-7F42-4FB1-BB5C-40067F3326D7}"/>
          </ac:picMkLst>
        </pc:picChg>
        <pc:picChg chg="add mod">
          <ac:chgData name="Gintare Vitkauskaite" userId="fcee79df-4ed1-45d4-8c05-9b9f3354d122" providerId="ADAL" clId="{6313438A-E452-410F-953B-6968086203D6}" dt="2022-02-11T14:41:58.546" v="4935" actId="1035"/>
          <ac:picMkLst>
            <pc:docMk/>
            <pc:sldMk cId="1887488718" sldId="450"/>
            <ac:picMk id="52" creationId="{5F70FDE1-AFF6-4A2B-8B03-5F5FA3F27101}"/>
          </ac:picMkLst>
        </pc:picChg>
      </pc:sldChg>
      <pc:sldChg chg="modSp mod">
        <pc:chgData name="Gintare Vitkauskaite" userId="fcee79df-4ed1-45d4-8c05-9b9f3354d122" providerId="ADAL" clId="{6313438A-E452-410F-953B-6968086203D6}" dt="2022-02-11T16:18:37.983" v="6035" actId="242"/>
        <pc:sldMkLst>
          <pc:docMk/>
          <pc:sldMk cId="2887734875" sldId="451"/>
        </pc:sldMkLst>
        <pc:spChg chg="mod">
          <ac:chgData name="Gintare Vitkauskaite" userId="fcee79df-4ed1-45d4-8c05-9b9f3354d122" providerId="ADAL" clId="{6313438A-E452-410F-953B-6968086203D6}" dt="2022-02-11T16:18:37.983" v="6035" actId="242"/>
          <ac:spMkLst>
            <pc:docMk/>
            <pc:sldMk cId="2887734875" sldId="451"/>
            <ac:spMk id="12" creationId="{2A476A9C-E995-480E-8E94-35DA286ECA22}"/>
          </ac:spMkLst>
        </pc:spChg>
        <pc:spChg chg="mod">
          <ac:chgData name="Gintare Vitkauskaite" userId="fcee79df-4ed1-45d4-8c05-9b9f3354d122" providerId="ADAL" clId="{6313438A-E452-410F-953B-6968086203D6}" dt="2022-02-11T16:18:37.983" v="6035" actId="242"/>
          <ac:spMkLst>
            <pc:docMk/>
            <pc:sldMk cId="2887734875" sldId="451"/>
            <ac:spMk id="33" creationId="{CB6C5C18-549F-4AB1-ABC9-FEE125152494}"/>
          </ac:spMkLst>
        </pc:spChg>
      </pc:sldChg>
      <pc:sldChg chg="del">
        <pc:chgData name="Gintare Vitkauskaite" userId="fcee79df-4ed1-45d4-8c05-9b9f3354d122" providerId="ADAL" clId="{6313438A-E452-410F-953B-6968086203D6}" dt="2022-02-11T15:55:09.900" v="5919" actId="47"/>
        <pc:sldMkLst>
          <pc:docMk/>
          <pc:sldMk cId="2357830411" sldId="452"/>
        </pc:sldMkLst>
      </pc:sldChg>
      <pc:sldChg chg="modSp mod">
        <pc:chgData name="Gintare Vitkauskaite" userId="fcee79df-4ed1-45d4-8c05-9b9f3354d122" providerId="ADAL" clId="{6313438A-E452-410F-953B-6968086203D6}" dt="2022-02-11T16:18:47.863" v="6037" actId="123"/>
        <pc:sldMkLst>
          <pc:docMk/>
          <pc:sldMk cId="3929339795" sldId="453"/>
        </pc:sldMkLst>
        <pc:spChg chg="mod">
          <ac:chgData name="Gintare Vitkauskaite" userId="fcee79df-4ed1-45d4-8c05-9b9f3354d122" providerId="ADAL" clId="{6313438A-E452-410F-953B-6968086203D6}" dt="2022-02-11T16:18:47.863" v="6037" actId="123"/>
          <ac:spMkLst>
            <pc:docMk/>
            <pc:sldMk cId="3929339795" sldId="453"/>
            <ac:spMk id="12" creationId="{2A476A9C-E995-480E-8E94-35DA286ECA22}"/>
          </ac:spMkLst>
        </pc:spChg>
        <pc:spChg chg="mod">
          <ac:chgData name="Gintare Vitkauskaite" userId="fcee79df-4ed1-45d4-8c05-9b9f3354d122" providerId="ADAL" clId="{6313438A-E452-410F-953B-6968086203D6}" dt="2022-02-11T16:18:47.863" v="6037" actId="123"/>
          <ac:spMkLst>
            <pc:docMk/>
            <pc:sldMk cId="3929339795" sldId="453"/>
            <ac:spMk id="20" creationId="{EFDD4146-FC51-413E-AB0A-BEFE639B8501}"/>
          </ac:spMkLst>
        </pc:spChg>
        <pc:spChg chg="mod">
          <ac:chgData name="Gintare Vitkauskaite" userId="fcee79df-4ed1-45d4-8c05-9b9f3354d122" providerId="ADAL" clId="{6313438A-E452-410F-953B-6968086203D6}" dt="2022-02-11T16:18:47.863" v="6037" actId="123"/>
          <ac:spMkLst>
            <pc:docMk/>
            <pc:sldMk cId="3929339795" sldId="453"/>
            <ac:spMk id="33" creationId="{CB6C5C18-549F-4AB1-ABC9-FEE125152494}"/>
          </ac:spMkLst>
        </pc:spChg>
        <pc:spChg chg="mod">
          <ac:chgData name="Gintare Vitkauskaite" userId="fcee79df-4ed1-45d4-8c05-9b9f3354d122" providerId="ADAL" clId="{6313438A-E452-410F-953B-6968086203D6}" dt="2022-02-11T16:18:47.863" v="6037" actId="123"/>
          <ac:spMkLst>
            <pc:docMk/>
            <pc:sldMk cId="3929339795" sldId="453"/>
            <ac:spMk id="39" creationId="{E4B6382C-1478-43D6-921B-96F2A843BB7A}"/>
          </ac:spMkLst>
        </pc:spChg>
      </pc:sldChg>
      <pc:sldChg chg="addSp delSp modSp new mod">
        <pc:chgData name="Gintare Vitkauskaite" userId="fcee79df-4ed1-45d4-8c05-9b9f3354d122" providerId="ADAL" clId="{6313438A-E452-410F-953B-6968086203D6}" dt="2022-02-11T14:54:22.409" v="5449" actId="113"/>
        <pc:sldMkLst>
          <pc:docMk/>
          <pc:sldMk cId="3935203784" sldId="454"/>
        </pc:sldMkLst>
        <pc:spChg chg="mod">
          <ac:chgData name="Gintare Vitkauskaite" userId="fcee79df-4ed1-45d4-8c05-9b9f3354d122" providerId="ADAL" clId="{6313438A-E452-410F-953B-6968086203D6}" dt="2022-02-11T14:50:43.046" v="5265" actId="20577"/>
          <ac:spMkLst>
            <pc:docMk/>
            <pc:sldMk cId="3935203784" sldId="454"/>
            <ac:spMk id="2" creationId="{815E6DDA-B7B5-4E73-A4CC-5BBC85B8DCA2}"/>
          </ac:spMkLst>
        </pc:spChg>
        <pc:spChg chg="del">
          <ac:chgData name="Gintare Vitkauskaite" userId="fcee79df-4ed1-45d4-8c05-9b9f3354d122" providerId="ADAL" clId="{6313438A-E452-410F-953B-6968086203D6}" dt="2022-02-11T14:43:25.305" v="5105" actId="478"/>
          <ac:spMkLst>
            <pc:docMk/>
            <pc:sldMk cId="3935203784" sldId="454"/>
            <ac:spMk id="3" creationId="{C2F93577-0914-46E4-B76A-097345996D91}"/>
          </ac:spMkLst>
        </pc:spChg>
        <pc:spChg chg="add mod">
          <ac:chgData name="Gintare Vitkauskaite" userId="fcee79df-4ed1-45d4-8c05-9b9f3354d122" providerId="ADAL" clId="{6313438A-E452-410F-953B-6968086203D6}" dt="2022-02-11T14:54:22.409" v="5449" actId="113"/>
          <ac:spMkLst>
            <pc:docMk/>
            <pc:sldMk cId="3935203784" sldId="454"/>
            <ac:spMk id="5" creationId="{03D93FC9-E684-493F-B3B2-34507F4B161F}"/>
          </ac:spMkLst>
        </pc:spChg>
        <pc:graphicFrameChg chg="add mod modGraphic">
          <ac:chgData name="Gintare Vitkauskaite" userId="fcee79df-4ed1-45d4-8c05-9b9f3354d122" providerId="ADAL" clId="{6313438A-E452-410F-953B-6968086203D6}" dt="2022-02-11T14:53:47.887" v="5418" actId="1036"/>
          <ac:graphicFrameMkLst>
            <pc:docMk/>
            <pc:sldMk cId="3935203784" sldId="454"/>
            <ac:graphicFrameMk id="4" creationId="{9BF523C1-ED79-46BC-B8BF-4BFDEF10B5EE}"/>
          </ac:graphicFrameMkLst>
        </pc:graphicFrameChg>
      </pc:sldChg>
      <pc:sldChg chg="del">
        <pc:chgData name="Gintare Vitkauskaite" userId="fcee79df-4ed1-45d4-8c05-9b9f3354d122" providerId="ADAL" clId="{6313438A-E452-410F-953B-6968086203D6}" dt="2022-02-11T15:56:05.237" v="5924" actId="47"/>
        <pc:sldMkLst>
          <pc:docMk/>
          <pc:sldMk cId="1552612893" sldId="455"/>
        </pc:sldMkLst>
      </pc:sldChg>
      <pc:sldChg chg="del">
        <pc:chgData name="Gintare Vitkauskaite" userId="fcee79df-4ed1-45d4-8c05-9b9f3354d122" providerId="ADAL" clId="{6313438A-E452-410F-953B-6968086203D6}" dt="2022-02-11T15:55:28.574" v="5921" actId="47"/>
        <pc:sldMkLst>
          <pc:docMk/>
          <pc:sldMk cId="2223594429" sldId="456"/>
        </pc:sldMkLst>
      </pc:sldChg>
      <pc:sldChg chg="modSp mod">
        <pc:chgData name="Gintare Vitkauskaite" userId="fcee79df-4ed1-45d4-8c05-9b9f3354d122" providerId="ADAL" clId="{6313438A-E452-410F-953B-6968086203D6}" dt="2022-02-11T16:18:53.098" v="6038" actId="242"/>
        <pc:sldMkLst>
          <pc:docMk/>
          <pc:sldMk cId="48667920" sldId="457"/>
        </pc:sldMkLst>
        <pc:spChg chg="mod">
          <ac:chgData name="Gintare Vitkauskaite" userId="fcee79df-4ed1-45d4-8c05-9b9f3354d122" providerId="ADAL" clId="{6313438A-E452-410F-953B-6968086203D6}" dt="2022-02-11T16:18:53.098" v="6038" actId="242"/>
          <ac:spMkLst>
            <pc:docMk/>
            <pc:sldMk cId="48667920" sldId="457"/>
            <ac:spMk id="12" creationId="{2A476A9C-E995-480E-8E94-35DA286ECA22}"/>
          </ac:spMkLst>
        </pc:spChg>
      </pc:sldChg>
      <pc:sldChg chg="addSp delSp modSp add mod">
        <pc:chgData name="Gintare Vitkauskaite" userId="fcee79df-4ed1-45d4-8c05-9b9f3354d122" providerId="ADAL" clId="{6313438A-E452-410F-953B-6968086203D6}" dt="2022-02-11T14:56:07.968" v="5469" actId="207"/>
        <pc:sldMkLst>
          <pc:docMk/>
          <pc:sldMk cId="1185698661" sldId="458"/>
        </pc:sldMkLst>
        <pc:spChg chg="del">
          <ac:chgData name="Gintare Vitkauskaite" userId="fcee79df-4ed1-45d4-8c05-9b9f3354d122" providerId="ADAL" clId="{6313438A-E452-410F-953B-6968086203D6}" dt="2022-02-11T14:55:59.621" v="5467" actId="478"/>
          <ac:spMkLst>
            <pc:docMk/>
            <pc:sldMk cId="1185698661" sldId="458"/>
            <ac:spMk id="18" creationId="{B6D99254-F40B-42D7-BE4B-6EAEF2AD7273}"/>
          </ac:spMkLst>
        </pc:spChg>
        <pc:spChg chg="add del mod">
          <ac:chgData name="Gintare Vitkauskaite" userId="fcee79df-4ed1-45d4-8c05-9b9f3354d122" providerId="ADAL" clId="{6313438A-E452-410F-953B-6968086203D6}" dt="2022-02-11T14:55:36.631" v="5465" actId="478"/>
          <ac:spMkLst>
            <pc:docMk/>
            <pc:sldMk cId="1185698661" sldId="458"/>
            <ac:spMk id="19" creationId="{2D4CBD2C-2CEE-4DF1-AD25-298828BA2F5F}"/>
          </ac:spMkLst>
        </pc:spChg>
        <pc:spChg chg="mod">
          <ac:chgData name="Gintare Vitkauskaite" userId="fcee79df-4ed1-45d4-8c05-9b9f3354d122" providerId="ADAL" clId="{6313438A-E452-410F-953B-6968086203D6}" dt="2022-02-11T14:55:34.995" v="5464" actId="207"/>
          <ac:spMkLst>
            <pc:docMk/>
            <pc:sldMk cId="1185698661" sldId="458"/>
            <ac:spMk id="20" creationId="{09C4EFAC-A4B2-49EC-94ED-A1A510ADBE3A}"/>
          </ac:spMkLst>
        </pc:spChg>
        <pc:spChg chg="del">
          <ac:chgData name="Gintare Vitkauskaite" userId="fcee79df-4ed1-45d4-8c05-9b9f3354d122" providerId="ADAL" clId="{6313438A-E452-410F-953B-6968086203D6}" dt="2022-02-11T14:54:55.612" v="5456" actId="478"/>
          <ac:spMkLst>
            <pc:docMk/>
            <pc:sldMk cId="1185698661" sldId="458"/>
            <ac:spMk id="21" creationId="{84D41F54-52B8-40D7-8F9B-2A3F6B9EA7D9}"/>
          </ac:spMkLst>
        </pc:spChg>
        <pc:spChg chg="mod">
          <ac:chgData name="Gintare Vitkauskaite" userId="fcee79df-4ed1-45d4-8c05-9b9f3354d122" providerId="ADAL" clId="{6313438A-E452-410F-953B-6968086203D6}" dt="2022-02-11T14:56:07.968" v="5469" actId="207"/>
          <ac:spMkLst>
            <pc:docMk/>
            <pc:sldMk cId="1185698661" sldId="458"/>
            <ac:spMk id="25" creationId="{96A1B951-F744-4406-9504-FBFF13B65E2D}"/>
          </ac:spMkLst>
        </pc:spChg>
        <pc:spChg chg="add mod">
          <ac:chgData name="Gintare Vitkauskaite" userId="fcee79df-4ed1-45d4-8c05-9b9f3354d122" providerId="ADAL" clId="{6313438A-E452-410F-953B-6968086203D6}" dt="2022-02-11T14:55:04.219" v="5458" actId="1076"/>
          <ac:spMkLst>
            <pc:docMk/>
            <pc:sldMk cId="1185698661" sldId="458"/>
            <ac:spMk id="26" creationId="{B88CB275-E703-4024-AF71-30CBFF58AE03}"/>
          </ac:spMkLst>
        </pc:spChg>
        <pc:spChg chg="add mod">
          <ac:chgData name="Gintare Vitkauskaite" userId="fcee79df-4ed1-45d4-8c05-9b9f3354d122" providerId="ADAL" clId="{6313438A-E452-410F-953B-6968086203D6}" dt="2022-02-11T14:55:14.886" v="5460" actId="1076"/>
          <ac:spMkLst>
            <pc:docMk/>
            <pc:sldMk cId="1185698661" sldId="458"/>
            <ac:spMk id="27" creationId="{0932A3D1-DF5D-4ADA-8C34-257E1F26306F}"/>
          </ac:spMkLst>
        </pc:spChg>
        <pc:spChg chg="add mod">
          <ac:chgData name="Gintare Vitkauskaite" userId="fcee79df-4ed1-45d4-8c05-9b9f3354d122" providerId="ADAL" clId="{6313438A-E452-410F-953B-6968086203D6}" dt="2022-02-11T14:55:34.995" v="5464" actId="207"/>
          <ac:spMkLst>
            <pc:docMk/>
            <pc:sldMk cId="1185698661" sldId="458"/>
            <ac:spMk id="28" creationId="{422CB192-9901-4DFB-816B-1C6DF2CEBE80}"/>
          </ac:spMkLst>
        </pc:spChg>
        <pc:spChg chg="mod">
          <ac:chgData name="Gintare Vitkauskaite" userId="fcee79df-4ed1-45d4-8c05-9b9f3354d122" providerId="ADAL" clId="{6313438A-E452-410F-953B-6968086203D6}" dt="2022-02-11T14:56:07.968" v="5469" actId="207"/>
          <ac:spMkLst>
            <pc:docMk/>
            <pc:sldMk cId="1185698661" sldId="458"/>
            <ac:spMk id="38" creationId="{CE778F19-9973-4789-8210-501FEA8641BC}"/>
          </ac:spMkLst>
        </pc:spChg>
      </pc:sldChg>
      <pc:sldChg chg="addSp delSp modSp add mod">
        <pc:chgData name="Gintare Vitkauskaite" userId="fcee79df-4ed1-45d4-8c05-9b9f3354d122" providerId="ADAL" clId="{6313438A-E452-410F-953B-6968086203D6}" dt="2022-02-11T16:18:11.486" v="6033" actId="12"/>
        <pc:sldMkLst>
          <pc:docMk/>
          <pc:sldMk cId="3828611265" sldId="459"/>
        </pc:sldMkLst>
        <pc:spChg chg="add mod">
          <ac:chgData name="Gintare Vitkauskaite" userId="fcee79df-4ed1-45d4-8c05-9b9f3354d122" providerId="ADAL" clId="{6313438A-E452-410F-953B-6968086203D6}" dt="2022-02-11T15:22:21.529" v="5630" actId="20577"/>
          <ac:spMkLst>
            <pc:docMk/>
            <pc:sldMk cId="3828611265" sldId="459"/>
            <ac:spMk id="3" creationId="{EF4B13B2-3547-400D-9BD5-6F744B79A24A}"/>
          </ac:spMkLst>
        </pc:spChg>
        <pc:spChg chg="mod">
          <ac:chgData name="Gintare Vitkauskaite" userId="fcee79df-4ed1-45d4-8c05-9b9f3354d122" providerId="ADAL" clId="{6313438A-E452-410F-953B-6968086203D6}" dt="2022-02-11T14:59:59.737" v="5496" actId="207"/>
          <ac:spMkLst>
            <pc:docMk/>
            <pc:sldMk cId="3828611265" sldId="459"/>
            <ac:spMk id="4" creationId="{35DD2BD4-2C59-4687-96FB-15ADE570F9CB}"/>
          </ac:spMkLst>
        </pc:spChg>
        <pc:spChg chg="mod">
          <ac:chgData name="Gintare Vitkauskaite" userId="fcee79df-4ed1-45d4-8c05-9b9f3354d122" providerId="ADAL" clId="{6313438A-E452-410F-953B-6968086203D6}" dt="2022-02-11T15:00:07.621" v="5497" actId="207"/>
          <ac:spMkLst>
            <pc:docMk/>
            <pc:sldMk cId="3828611265" sldId="459"/>
            <ac:spMk id="7" creationId="{49FE8141-7AC9-4210-81A4-44D00BED890C}"/>
          </ac:spMkLst>
        </pc:spChg>
        <pc:spChg chg="del mod">
          <ac:chgData name="Gintare Vitkauskaite" userId="fcee79df-4ed1-45d4-8c05-9b9f3354d122" providerId="ADAL" clId="{6313438A-E452-410F-953B-6968086203D6}" dt="2022-02-11T15:21:07.831" v="5602" actId="478"/>
          <ac:spMkLst>
            <pc:docMk/>
            <pc:sldMk cId="3828611265" sldId="459"/>
            <ac:spMk id="8" creationId="{D4BA0322-774D-45E2-995A-B7FBA65EA31F}"/>
          </ac:spMkLst>
        </pc:spChg>
        <pc:spChg chg="mod">
          <ac:chgData name="Gintare Vitkauskaite" userId="fcee79df-4ed1-45d4-8c05-9b9f3354d122" providerId="ADAL" clId="{6313438A-E452-410F-953B-6968086203D6}" dt="2022-02-11T15:08:46.866" v="5513" actId="555"/>
          <ac:spMkLst>
            <pc:docMk/>
            <pc:sldMk cId="3828611265" sldId="459"/>
            <ac:spMk id="17" creationId="{3943F60A-B91C-4B98-9E64-78FCCC2F3D54}"/>
          </ac:spMkLst>
        </pc:spChg>
        <pc:spChg chg="mod">
          <ac:chgData name="Gintare Vitkauskaite" userId="fcee79df-4ed1-45d4-8c05-9b9f3354d122" providerId="ADAL" clId="{6313438A-E452-410F-953B-6968086203D6}" dt="2022-02-11T15:10:02.135" v="5529" actId="207"/>
          <ac:spMkLst>
            <pc:docMk/>
            <pc:sldMk cId="3828611265" sldId="459"/>
            <ac:spMk id="31" creationId="{3594246A-D1E7-4360-9D2D-BE94E233B41D}"/>
          </ac:spMkLst>
        </pc:spChg>
        <pc:spChg chg="mod">
          <ac:chgData name="Gintare Vitkauskaite" userId="fcee79df-4ed1-45d4-8c05-9b9f3354d122" providerId="ADAL" clId="{6313438A-E452-410F-953B-6968086203D6}" dt="2022-02-11T15:09:10.335" v="5517" actId="1035"/>
          <ac:spMkLst>
            <pc:docMk/>
            <pc:sldMk cId="3828611265" sldId="459"/>
            <ac:spMk id="33" creationId="{329DBB42-0C2E-44CE-AEBF-0E418ED6416A}"/>
          </ac:spMkLst>
        </pc:spChg>
        <pc:spChg chg="mod">
          <ac:chgData name="Gintare Vitkauskaite" userId="fcee79df-4ed1-45d4-8c05-9b9f3354d122" providerId="ADAL" clId="{6313438A-E452-410F-953B-6968086203D6}" dt="2022-02-11T15:10:35.267" v="5530" actId="6549"/>
          <ac:spMkLst>
            <pc:docMk/>
            <pc:sldMk cId="3828611265" sldId="459"/>
            <ac:spMk id="34" creationId="{076A2663-7BC0-48F1-BD18-AA10EBD22B10}"/>
          </ac:spMkLst>
        </pc:spChg>
        <pc:spChg chg="del">
          <ac:chgData name="Gintare Vitkauskaite" userId="fcee79df-4ed1-45d4-8c05-9b9f3354d122" providerId="ADAL" clId="{6313438A-E452-410F-953B-6968086203D6}" dt="2022-02-11T15:11:36.859" v="5531" actId="478"/>
          <ac:spMkLst>
            <pc:docMk/>
            <pc:sldMk cId="3828611265" sldId="459"/>
            <ac:spMk id="40" creationId="{DD3E6B97-7117-4711-844A-EB2B78B3936F}"/>
          </ac:spMkLst>
        </pc:spChg>
        <pc:spChg chg="add mod">
          <ac:chgData name="Gintare Vitkauskaite" userId="fcee79df-4ed1-45d4-8c05-9b9f3354d122" providerId="ADAL" clId="{6313438A-E452-410F-953B-6968086203D6}" dt="2022-02-11T15:12:14.722" v="5540" actId="1035"/>
          <ac:spMkLst>
            <pc:docMk/>
            <pc:sldMk cId="3828611265" sldId="459"/>
            <ac:spMk id="43" creationId="{01D21B7A-478A-4DF4-8419-E22DE776FFB9}"/>
          </ac:spMkLst>
        </pc:spChg>
        <pc:spChg chg="del">
          <ac:chgData name="Gintare Vitkauskaite" userId="fcee79df-4ed1-45d4-8c05-9b9f3354d122" providerId="ADAL" clId="{6313438A-E452-410F-953B-6968086203D6}" dt="2022-02-11T15:12:52.545" v="5541" actId="478"/>
          <ac:spMkLst>
            <pc:docMk/>
            <pc:sldMk cId="3828611265" sldId="459"/>
            <ac:spMk id="47" creationId="{48889598-272E-46E7-9D8C-9F5238F35226}"/>
          </ac:spMkLst>
        </pc:spChg>
        <pc:spChg chg="add del mod">
          <ac:chgData name="Gintare Vitkauskaite" userId="fcee79df-4ed1-45d4-8c05-9b9f3354d122" providerId="ADAL" clId="{6313438A-E452-410F-953B-6968086203D6}" dt="2022-02-11T15:11:51.370" v="5536"/>
          <ac:spMkLst>
            <pc:docMk/>
            <pc:sldMk cId="3828611265" sldId="459"/>
            <ac:spMk id="48" creationId="{C665FAD2-2BF1-47C1-AA86-D0F0E61E7705}"/>
          </ac:spMkLst>
        </pc:spChg>
        <pc:spChg chg="mod">
          <ac:chgData name="Gintare Vitkauskaite" userId="fcee79df-4ed1-45d4-8c05-9b9f3354d122" providerId="ADAL" clId="{6313438A-E452-410F-953B-6968086203D6}" dt="2022-02-11T16:18:11.486" v="6033" actId="12"/>
          <ac:spMkLst>
            <pc:docMk/>
            <pc:sldMk cId="3828611265" sldId="459"/>
            <ac:spMk id="53" creationId="{A347CF0E-C2E2-44BD-81B2-6E6C77E718A9}"/>
          </ac:spMkLst>
        </pc:spChg>
        <pc:spChg chg="mod">
          <ac:chgData name="Gintare Vitkauskaite" userId="fcee79df-4ed1-45d4-8c05-9b9f3354d122" providerId="ADAL" clId="{6313438A-E452-410F-953B-6968086203D6}" dt="2022-02-11T15:26:22.655" v="5649" actId="1037"/>
          <ac:spMkLst>
            <pc:docMk/>
            <pc:sldMk cId="3828611265" sldId="459"/>
            <ac:spMk id="60" creationId="{BCE3AAE7-D6B4-43D1-B29C-1016ADA97EB2}"/>
          </ac:spMkLst>
        </pc:spChg>
        <pc:spChg chg="mod">
          <ac:chgData name="Gintare Vitkauskaite" userId="fcee79df-4ed1-45d4-8c05-9b9f3354d122" providerId="ADAL" clId="{6313438A-E452-410F-953B-6968086203D6}" dt="2022-02-11T15:26:18.818" v="5648" actId="1038"/>
          <ac:spMkLst>
            <pc:docMk/>
            <pc:sldMk cId="3828611265" sldId="459"/>
            <ac:spMk id="62" creationId="{AE0E76A9-A998-4725-8A2E-B6F1E5CD3A22}"/>
          </ac:spMkLst>
        </pc:spChg>
        <pc:spChg chg="mod">
          <ac:chgData name="Gintare Vitkauskaite" userId="fcee79df-4ed1-45d4-8c05-9b9f3354d122" providerId="ADAL" clId="{6313438A-E452-410F-953B-6968086203D6}" dt="2022-02-11T15:26:22.655" v="5649" actId="1037"/>
          <ac:spMkLst>
            <pc:docMk/>
            <pc:sldMk cId="3828611265" sldId="459"/>
            <ac:spMk id="64" creationId="{4AF32163-B136-45B2-9975-AA50D434CED3}"/>
          </ac:spMkLst>
        </pc:spChg>
        <pc:spChg chg="mod">
          <ac:chgData name="Gintare Vitkauskaite" userId="fcee79df-4ed1-45d4-8c05-9b9f3354d122" providerId="ADAL" clId="{6313438A-E452-410F-953B-6968086203D6}" dt="2022-02-11T15:26:18.818" v="5648" actId="1038"/>
          <ac:spMkLst>
            <pc:docMk/>
            <pc:sldMk cId="3828611265" sldId="459"/>
            <ac:spMk id="66" creationId="{FD1C34E6-C313-46D2-BA44-B8D6766162CA}"/>
          </ac:spMkLst>
        </pc:spChg>
        <pc:spChg chg="mod">
          <ac:chgData name="Gintare Vitkauskaite" userId="fcee79df-4ed1-45d4-8c05-9b9f3354d122" providerId="ADAL" clId="{6313438A-E452-410F-953B-6968086203D6}" dt="2022-02-11T15:26:18.818" v="5648" actId="1038"/>
          <ac:spMkLst>
            <pc:docMk/>
            <pc:sldMk cId="3828611265" sldId="459"/>
            <ac:spMk id="68" creationId="{DC51C86B-4691-48DF-8125-FC5AA5B851D0}"/>
          </ac:spMkLst>
        </pc:spChg>
        <pc:spChg chg="del">
          <ac:chgData name="Gintare Vitkauskaite" userId="fcee79df-4ed1-45d4-8c05-9b9f3354d122" providerId="ADAL" clId="{6313438A-E452-410F-953B-6968086203D6}" dt="2022-02-11T15:17:06.237" v="5555" actId="478"/>
          <ac:spMkLst>
            <pc:docMk/>
            <pc:sldMk cId="3828611265" sldId="459"/>
            <ac:spMk id="70" creationId="{FE0ED578-935C-4054-BC99-28C242DCB930}"/>
          </ac:spMkLst>
        </pc:spChg>
        <pc:spChg chg="mod">
          <ac:chgData name="Gintare Vitkauskaite" userId="fcee79df-4ed1-45d4-8c05-9b9f3354d122" providerId="ADAL" clId="{6313438A-E452-410F-953B-6968086203D6}" dt="2022-02-11T15:26:18.818" v="5648" actId="1038"/>
          <ac:spMkLst>
            <pc:docMk/>
            <pc:sldMk cId="3828611265" sldId="459"/>
            <ac:spMk id="72" creationId="{4FEE95EE-976C-42C6-A9A7-26ECEE6DCBFD}"/>
          </ac:spMkLst>
        </pc:spChg>
        <pc:spChg chg="mod">
          <ac:chgData name="Gintare Vitkauskaite" userId="fcee79df-4ed1-45d4-8c05-9b9f3354d122" providerId="ADAL" clId="{6313438A-E452-410F-953B-6968086203D6}" dt="2022-02-11T15:26:31.267" v="5651" actId="14100"/>
          <ac:spMkLst>
            <pc:docMk/>
            <pc:sldMk cId="3828611265" sldId="459"/>
            <ac:spMk id="74" creationId="{6BA1FD68-7BC3-4236-A28F-1942BBE36A92}"/>
          </ac:spMkLst>
        </pc:spChg>
        <pc:grpChg chg="del">
          <ac:chgData name="Gintare Vitkauskaite" userId="fcee79df-4ed1-45d4-8c05-9b9f3354d122" providerId="ADAL" clId="{6313438A-E452-410F-953B-6968086203D6}" dt="2022-02-11T15:11:37.875" v="5532" actId="478"/>
          <ac:grpSpMkLst>
            <pc:docMk/>
            <pc:sldMk cId="3828611265" sldId="459"/>
            <ac:grpSpMk id="46" creationId="{4313B0BC-DEAF-4320-BB35-EE66F54326B0}"/>
          </ac:grpSpMkLst>
        </pc:grpChg>
      </pc:sldChg>
      <pc:sldChg chg="addSp delSp modSp add mod">
        <pc:chgData name="Gintare Vitkauskaite" userId="fcee79df-4ed1-45d4-8c05-9b9f3354d122" providerId="ADAL" clId="{6313438A-E452-410F-953B-6968086203D6}" dt="2022-02-11T15:37:07.606" v="5710" actId="207"/>
        <pc:sldMkLst>
          <pc:docMk/>
          <pc:sldMk cId="2570352800" sldId="460"/>
        </pc:sldMkLst>
        <pc:spChg chg="add del mod">
          <ac:chgData name="Gintare Vitkauskaite" userId="fcee79df-4ed1-45d4-8c05-9b9f3354d122" providerId="ADAL" clId="{6313438A-E452-410F-953B-6968086203D6}" dt="2022-02-11T15:29:06.658" v="5661" actId="113"/>
          <ac:spMkLst>
            <pc:docMk/>
            <pc:sldMk cId="2570352800" sldId="460"/>
            <ac:spMk id="2" creationId="{CD8CF473-A24A-4CF8-9BAD-D2F5AB51982D}"/>
          </ac:spMkLst>
        </pc:spChg>
        <pc:spChg chg="mod">
          <ac:chgData name="Gintare Vitkauskaite" userId="fcee79df-4ed1-45d4-8c05-9b9f3354d122" providerId="ADAL" clId="{6313438A-E452-410F-953B-6968086203D6}" dt="2022-02-11T15:01:09.321" v="5498" actId="207"/>
          <ac:spMkLst>
            <pc:docMk/>
            <pc:sldMk cId="2570352800" sldId="460"/>
            <ac:spMk id="4" creationId="{35DD2BD4-2C59-4687-96FB-15ADE570F9CB}"/>
          </ac:spMkLst>
        </pc:spChg>
        <pc:spChg chg="mod">
          <ac:chgData name="Gintare Vitkauskaite" userId="fcee79df-4ed1-45d4-8c05-9b9f3354d122" providerId="ADAL" clId="{6313438A-E452-410F-953B-6968086203D6}" dt="2022-02-11T15:01:14.245" v="5499" actId="207"/>
          <ac:spMkLst>
            <pc:docMk/>
            <pc:sldMk cId="2570352800" sldId="460"/>
            <ac:spMk id="7" creationId="{49FE8141-7AC9-4210-81A4-44D00BED890C}"/>
          </ac:spMkLst>
        </pc:spChg>
        <pc:spChg chg="mod">
          <ac:chgData name="Gintare Vitkauskaite" userId="fcee79df-4ed1-45d4-8c05-9b9f3354d122" providerId="ADAL" clId="{6313438A-E452-410F-953B-6968086203D6}" dt="2022-02-11T15:37:07.606" v="5710" actId="207"/>
          <ac:spMkLst>
            <pc:docMk/>
            <pc:sldMk cId="2570352800" sldId="460"/>
            <ac:spMk id="8" creationId="{D4BA0322-774D-45E2-995A-B7FBA65EA31F}"/>
          </ac:spMkLst>
        </pc:spChg>
        <pc:spChg chg="del">
          <ac:chgData name="Gintare Vitkauskaite" userId="fcee79df-4ed1-45d4-8c05-9b9f3354d122" providerId="ADAL" clId="{6313438A-E452-410F-953B-6968086203D6}" dt="2022-02-11T15:30:49.148" v="5670" actId="478"/>
          <ac:spMkLst>
            <pc:docMk/>
            <pc:sldMk cId="2570352800" sldId="460"/>
            <ac:spMk id="15" creationId="{181E55F1-B897-496C-A203-2F9809E23881}"/>
          </ac:spMkLst>
        </pc:spChg>
        <pc:spChg chg="mod">
          <ac:chgData name="Gintare Vitkauskaite" userId="fcee79df-4ed1-45d4-8c05-9b9f3354d122" providerId="ADAL" clId="{6313438A-E452-410F-953B-6968086203D6}" dt="2022-02-11T15:36:37.734" v="5705" actId="20577"/>
          <ac:spMkLst>
            <pc:docMk/>
            <pc:sldMk cId="2570352800" sldId="460"/>
            <ac:spMk id="17" creationId="{5325A1A7-0F0C-44F3-8DFD-586133FCFBC2}"/>
          </ac:spMkLst>
        </pc:spChg>
        <pc:spChg chg="mod">
          <ac:chgData name="Gintare Vitkauskaite" userId="fcee79df-4ed1-45d4-8c05-9b9f3354d122" providerId="ADAL" clId="{6313438A-E452-410F-953B-6968086203D6}" dt="2022-02-11T15:30:57.773" v="5672" actId="114"/>
          <ac:spMkLst>
            <pc:docMk/>
            <pc:sldMk cId="2570352800" sldId="460"/>
            <ac:spMk id="48" creationId="{8E65E5A1-D897-451C-A948-D34178B37D20}"/>
          </ac:spMkLst>
        </pc:spChg>
        <pc:spChg chg="mod">
          <ac:chgData name="Gintare Vitkauskaite" userId="fcee79df-4ed1-45d4-8c05-9b9f3354d122" providerId="ADAL" clId="{6313438A-E452-410F-953B-6968086203D6}" dt="2022-02-11T15:28:06.288" v="5658" actId="14100"/>
          <ac:spMkLst>
            <pc:docMk/>
            <pc:sldMk cId="2570352800" sldId="460"/>
            <ac:spMk id="53" creationId="{A347CF0E-C2E2-44BD-81B2-6E6C77E718A9}"/>
          </ac:spMkLst>
        </pc:spChg>
        <pc:spChg chg="del">
          <ac:chgData name="Gintare Vitkauskaite" userId="fcee79df-4ed1-45d4-8c05-9b9f3354d122" providerId="ADAL" clId="{6313438A-E452-410F-953B-6968086203D6}" dt="2022-02-11T15:29:39.211" v="5665" actId="478"/>
          <ac:spMkLst>
            <pc:docMk/>
            <pc:sldMk cId="2570352800" sldId="460"/>
            <ac:spMk id="55" creationId="{0D180A6D-CDDD-4645-A173-EC4A958A3970}"/>
          </ac:spMkLst>
        </pc:spChg>
        <pc:spChg chg="mod">
          <ac:chgData name="Gintare Vitkauskaite" userId="fcee79df-4ed1-45d4-8c05-9b9f3354d122" providerId="ADAL" clId="{6313438A-E452-410F-953B-6968086203D6}" dt="2022-02-11T15:29:43.258" v="5666" actId="14100"/>
          <ac:spMkLst>
            <pc:docMk/>
            <pc:sldMk cId="2570352800" sldId="460"/>
            <ac:spMk id="56" creationId="{A564C084-E763-420B-8F8C-C44512C660C1}"/>
          </ac:spMkLst>
        </pc:spChg>
      </pc:sldChg>
      <pc:sldChg chg="add del">
        <pc:chgData name="Gintare Vitkauskaite" userId="fcee79df-4ed1-45d4-8c05-9b9f3354d122" providerId="ADAL" clId="{6313438A-E452-410F-953B-6968086203D6}" dt="2022-02-11T15:07:21.379" v="5506" actId="47"/>
        <pc:sldMkLst>
          <pc:docMk/>
          <pc:sldMk cId="2983241945" sldId="461"/>
        </pc:sldMkLst>
      </pc:sldChg>
      <pc:sldChg chg="addSp delSp modSp mod">
        <pc:chgData name="Gintare Vitkauskaite" userId="fcee79df-4ed1-45d4-8c05-9b9f3354d122" providerId="ADAL" clId="{6313438A-E452-410F-953B-6968086203D6}" dt="2022-02-11T16:13:07.486" v="5952" actId="478"/>
        <pc:sldMkLst>
          <pc:docMk/>
          <pc:sldMk cId="4268286866" sldId="462"/>
        </pc:sldMkLst>
        <pc:spChg chg="add del mod">
          <ac:chgData name="Gintare Vitkauskaite" userId="fcee79df-4ed1-45d4-8c05-9b9f3354d122" providerId="ADAL" clId="{6313438A-E452-410F-953B-6968086203D6}" dt="2022-02-11T16:13:07.486" v="5952" actId="478"/>
          <ac:spMkLst>
            <pc:docMk/>
            <pc:sldMk cId="4268286866" sldId="462"/>
            <ac:spMk id="3" creationId="{67A1F9BC-5B1B-4905-80CD-34D02C4568D1}"/>
          </ac:spMkLst>
        </pc:spChg>
        <pc:spChg chg="del mod">
          <ac:chgData name="Gintare Vitkauskaite" userId="fcee79df-4ed1-45d4-8c05-9b9f3354d122" providerId="ADAL" clId="{6313438A-E452-410F-953B-6968086203D6}" dt="2022-02-11T16:13:03.366" v="5951" actId="478"/>
          <ac:spMkLst>
            <pc:docMk/>
            <pc:sldMk cId="4268286866" sldId="462"/>
            <ac:spMk id="8" creationId="{D4BA0322-774D-45E2-995A-B7FBA65EA31F}"/>
          </ac:spMkLst>
        </pc:spChg>
        <pc:spChg chg="mod">
          <ac:chgData name="Gintare Vitkauskaite" userId="fcee79df-4ed1-45d4-8c05-9b9f3354d122" providerId="ADAL" clId="{6313438A-E452-410F-953B-6968086203D6}" dt="2022-02-11T16:11:13.204" v="5934" actId="207"/>
          <ac:spMkLst>
            <pc:docMk/>
            <pc:sldMk cId="4268286866" sldId="462"/>
            <ac:spMk id="17" creationId="{3943F60A-B91C-4B98-9E64-78FCCC2F3D54}"/>
          </ac:spMkLst>
        </pc:spChg>
        <pc:spChg chg="mod">
          <ac:chgData name="Gintare Vitkauskaite" userId="fcee79df-4ed1-45d4-8c05-9b9f3354d122" providerId="ADAL" clId="{6313438A-E452-410F-953B-6968086203D6}" dt="2022-02-11T16:11:09.153" v="5933" actId="207"/>
          <ac:spMkLst>
            <pc:docMk/>
            <pc:sldMk cId="4268286866" sldId="462"/>
            <ac:spMk id="34" creationId="{076A2663-7BC0-48F1-BD18-AA10EBD22B10}"/>
          </ac:spMkLst>
        </pc:spChg>
        <pc:spChg chg="mod">
          <ac:chgData name="Gintare Vitkauskaite" userId="fcee79df-4ed1-45d4-8c05-9b9f3354d122" providerId="ADAL" clId="{6313438A-E452-410F-953B-6968086203D6}" dt="2022-02-11T16:11:17.841" v="5935" actId="20577"/>
          <ac:spMkLst>
            <pc:docMk/>
            <pc:sldMk cId="4268286866" sldId="462"/>
            <ac:spMk id="38" creationId="{787DCCBB-04AD-45F3-814A-F0BE45E2CFE9}"/>
          </ac:spMkLst>
        </pc:spChg>
        <pc:spChg chg="del">
          <ac:chgData name="Gintare Vitkauskaite" userId="fcee79df-4ed1-45d4-8c05-9b9f3354d122" providerId="ADAL" clId="{6313438A-E452-410F-953B-6968086203D6}" dt="2022-02-11T16:11:37.639" v="5936" actId="478"/>
          <ac:spMkLst>
            <pc:docMk/>
            <pc:sldMk cId="4268286866" sldId="462"/>
            <ac:spMk id="47" creationId="{48889598-272E-46E7-9D8C-9F5238F35226}"/>
          </ac:spMkLst>
        </pc:spChg>
        <pc:spChg chg="add mod">
          <ac:chgData name="Gintare Vitkauskaite" userId="fcee79df-4ed1-45d4-8c05-9b9f3354d122" providerId="ADAL" clId="{6313438A-E452-410F-953B-6968086203D6}" dt="2022-02-11T16:13:00.805" v="5950"/>
          <ac:spMkLst>
            <pc:docMk/>
            <pc:sldMk cId="4268286866" sldId="462"/>
            <ac:spMk id="48" creationId="{353B1496-165F-4832-AE3B-63E802404B46}"/>
          </ac:spMkLst>
        </pc:spChg>
        <pc:spChg chg="mod">
          <ac:chgData name="Gintare Vitkauskaite" userId="fcee79df-4ed1-45d4-8c05-9b9f3354d122" providerId="ADAL" clId="{6313438A-E452-410F-953B-6968086203D6}" dt="2022-02-11T16:12:23.489" v="5939" actId="2710"/>
          <ac:spMkLst>
            <pc:docMk/>
            <pc:sldMk cId="4268286866" sldId="462"/>
            <ac:spMk id="64" creationId="{4AF32163-B136-45B2-9975-AA50D434CED3}"/>
          </ac:spMkLst>
        </pc:spChg>
        <pc:spChg chg="mod">
          <ac:chgData name="Gintare Vitkauskaite" userId="fcee79df-4ed1-45d4-8c05-9b9f3354d122" providerId="ADAL" clId="{6313438A-E452-410F-953B-6968086203D6}" dt="2022-02-11T16:12:35.457" v="5943" actId="2710"/>
          <ac:spMkLst>
            <pc:docMk/>
            <pc:sldMk cId="4268286866" sldId="462"/>
            <ac:spMk id="68" creationId="{DC51C86B-4691-48DF-8125-FC5AA5B851D0}"/>
          </ac:spMkLst>
        </pc:spChg>
        <pc:spChg chg="mod">
          <ac:chgData name="Gintare Vitkauskaite" userId="fcee79df-4ed1-45d4-8c05-9b9f3354d122" providerId="ADAL" clId="{6313438A-E452-410F-953B-6968086203D6}" dt="2022-02-11T16:12:29.990" v="5941" actId="2710"/>
          <ac:spMkLst>
            <pc:docMk/>
            <pc:sldMk cId="4268286866" sldId="462"/>
            <ac:spMk id="74" creationId="{6BA1FD68-7BC3-4236-A28F-1942BBE36A92}"/>
          </ac:spMkLst>
        </pc:spChg>
        <pc:grpChg chg="del">
          <ac:chgData name="Gintare Vitkauskaite" userId="fcee79df-4ed1-45d4-8c05-9b9f3354d122" providerId="ADAL" clId="{6313438A-E452-410F-953B-6968086203D6}" dt="2022-02-11T16:11:40.834" v="5937" actId="478"/>
          <ac:grpSpMkLst>
            <pc:docMk/>
            <pc:sldMk cId="4268286866" sldId="462"/>
            <ac:grpSpMk id="43" creationId="{0AD71B0B-7B92-4778-92A3-72AE3BD35E25}"/>
          </ac:grpSpMkLst>
        </pc:grpChg>
        <pc:grpChg chg="del">
          <ac:chgData name="Gintare Vitkauskaite" userId="fcee79df-4ed1-45d4-8c05-9b9f3354d122" providerId="ADAL" clId="{6313438A-E452-410F-953B-6968086203D6}" dt="2022-02-11T16:10:29.056" v="5927" actId="478"/>
          <ac:grpSpMkLst>
            <pc:docMk/>
            <pc:sldMk cId="4268286866" sldId="462"/>
            <ac:grpSpMk id="46" creationId="{4313B0BC-DEAF-4320-BB35-EE66F54326B0}"/>
          </ac:grpSpMkLst>
        </pc:grpChg>
      </pc:sldChg>
      <pc:sldChg chg="modSp mod">
        <pc:chgData name="Gintare Vitkauskaite" userId="fcee79df-4ed1-45d4-8c05-9b9f3354d122" providerId="ADAL" clId="{6313438A-E452-410F-953B-6968086203D6}" dt="2022-02-11T16:14:01.212" v="5976" actId="12"/>
        <pc:sldMkLst>
          <pc:docMk/>
          <pc:sldMk cId="1860005955" sldId="463"/>
        </pc:sldMkLst>
        <pc:spChg chg="mod">
          <ac:chgData name="Gintare Vitkauskaite" userId="fcee79df-4ed1-45d4-8c05-9b9f3354d122" providerId="ADAL" clId="{6313438A-E452-410F-953B-6968086203D6}" dt="2022-02-11T16:14:01.212" v="5976" actId="12"/>
          <ac:spMkLst>
            <pc:docMk/>
            <pc:sldMk cId="1860005955" sldId="463"/>
            <ac:spMk id="53" creationId="{A347CF0E-C2E2-44BD-81B2-6E6C77E718A9}"/>
          </ac:spMkLst>
        </pc:spChg>
        <pc:spChg chg="mod">
          <ac:chgData name="Gintare Vitkauskaite" userId="fcee79df-4ed1-45d4-8c05-9b9f3354d122" providerId="ADAL" clId="{6313438A-E452-410F-953B-6968086203D6}" dt="2022-02-11T16:13:35.919" v="5955" actId="14100"/>
          <ac:spMkLst>
            <pc:docMk/>
            <pc:sldMk cId="1860005955" sldId="463"/>
            <ac:spMk id="55" creationId="{0D180A6D-CDDD-4645-A173-EC4A958A3970}"/>
          </ac:spMkLst>
        </pc:spChg>
        <pc:spChg chg="mod">
          <ac:chgData name="Gintare Vitkauskaite" userId="fcee79df-4ed1-45d4-8c05-9b9f3354d122" providerId="ADAL" clId="{6313438A-E452-410F-953B-6968086203D6}" dt="2022-02-11T16:13:32.923" v="5954" actId="14100"/>
          <ac:spMkLst>
            <pc:docMk/>
            <pc:sldMk cId="1860005955" sldId="463"/>
            <ac:spMk id="56" creationId="{A564C084-E763-420B-8F8C-C44512C660C1}"/>
          </ac:spMkLst>
        </pc:spChg>
        <pc:grpChg chg="mod">
          <ac:chgData name="Gintare Vitkauskaite" userId="fcee79df-4ed1-45d4-8c05-9b9f3354d122" providerId="ADAL" clId="{6313438A-E452-410F-953B-6968086203D6}" dt="2022-02-11T16:13:28.544" v="5953" actId="14100"/>
          <ac:grpSpMkLst>
            <pc:docMk/>
            <pc:sldMk cId="1860005955" sldId="463"/>
            <ac:grpSpMk id="52" creationId="{96624199-4701-4C79-8154-921E7CA09689}"/>
          </ac:grpSpMkLst>
        </pc:grpChg>
      </pc:sldChg>
      <pc:sldChg chg="addSp delSp modSp new mod">
        <pc:chgData name="Gintare Vitkauskaite" userId="fcee79df-4ed1-45d4-8c05-9b9f3354d122" providerId="ADAL" clId="{6313438A-E452-410F-953B-6968086203D6}" dt="2022-02-11T15:53:44.081" v="5916" actId="20577"/>
        <pc:sldMkLst>
          <pc:docMk/>
          <pc:sldMk cId="1959652402" sldId="464"/>
        </pc:sldMkLst>
        <pc:spChg chg="mod">
          <ac:chgData name="Gintare Vitkauskaite" userId="fcee79df-4ed1-45d4-8c05-9b9f3354d122" providerId="ADAL" clId="{6313438A-E452-410F-953B-6968086203D6}" dt="2022-02-11T15:53:44.081" v="5916" actId="20577"/>
          <ac:spMkLst>
            <pc:docMk/>
            <pc:sldMk cId="1959652402" sldId="464"/>
            <ac:spMk id="2" creationId="{C9DF8238-EEE4-4D16-82AB-C67DC2650547}"/>
          </ac:spMkLst>
        </pc:spChg>
        <pc:spChg chg="del">
          <ac:chgData name="Gintare Vitkauskaite" userId="fcee79df-4ed1-45d4-8c05-9b9f3354d122" providerId="ADAL" clId="{6313438A-E452-410F-953B-6968086203D6}" dt="2022-02-11T15:38:38.223" v="5713" actId="478"/>
          <ac:spMkLst>
            <pc:docMk/>
            <pc:sldMk cId="1959652402" sldId="464"/>
            <ac:spMk id="3" creationId="{2D6A499B-5A22-460E-A6E7-F251785AB493}"/>
          </ac:spMkLst>
        </pc:spChg>
        <pc:graphicFrameChg chg="add del">
          <ac:chgData name="Gintare Vitkauskaite" userId="fcee79df-4ed1-45d4-8c05-9b9f3354d122" providerId="ADAL" clId="{6313438A-E452-410F-953B-6968086203D6}" dt="2022-02-11T15:38:49.927" v="5715" actId="478"/>
          <ac:graphicFrameMkLst>
            <pc:docMk/>
            <pc:sldMk cId="1959652402" sldId="464"/>
            <ac:graphicFrameMk id="4" creationId="{6ED615C7-1FA1-4B5F-BBDA-6269FF312707}"/>
          </ac:graphicFrameMkLst>
        </pc:graphicFrameChg>
        <pc:graphicFrameChg chg="add mod modGraphic">
          <ac:chgData name="Gintare Vitkauskaite" userId="fcee79df-4ed1-45d4-8c05-9b9f3354d122" providerId="ADAL" clId="{6313438A-E452-410F-953B-6968086203D6}" dt="2022-02-11T15:52:08.634" v="5911" actId="1036"/>
          <ac:graphicFrameMkLst>
            <pc:docMk/>
            <pc:sldMk cId="1959652402" sldId="464"/>
            <ac:graphicFrameMk id="5" creationId="{97846D81-74FF-458F-853F-6E676F9A879F}"/>
          </ac:graphicFrameMkLst>
        </pc:graphicFrameChg>
      </pc:sldChg>
      <pc:sldChg chg="add">
        <pc:chgData name="Gintare Vitkauskaite" userId="fcee79df-4ed1-45d4-8c05-9b9f3354d122" providerId="ADAL" clId="{6313438A-E452-410F-953B-6968086203D6}" dt="2022-02-11T15:55:02.443" v="5917"/>
        <pc:sldMkLst>
          <pc:docMk/>
          <pc:sldMk cId="1153953872" sldId="465"/>
        </pc:sldMkLst>
      </pc:sldChg>
      <pc:sldChg chg="add">
        <pc:chgData name="Gintare Vitkauskaite" userId="fcee79df-4ed1-45d4-8c05-9b9f3354d122" providerId="ADAL" clId="{6313438A-E452-410F-953B-6968086203D6}" dt="2022-02-11T15:55:02.443" v="5917"/>
        <pc:sldMkLst>
          <pc:docMk/>
          <pc:sldMk cId="193828604" sldId="466"/>
        </pc:sldMkLst>
      </pc:sldChg>
      <pc:sldChg chg="add">
        <pc:chgData name="Gintare Vitkauskaite" userId="fcee79df-4ed1-45d4-8c05-9b9f3354d122" providerId="ADAL" clId="{6313438A-E452-410F-953B-6968086203D6}" dt="2022-02-11T15:55:25.840" v="5920"/>
        <pc:sldMkLst>
          <pc:docMk/>
          <pc:sldMk cId="968355729" sldId="467"/>
        </pc:sldMkLst>
      </pc:sldChg>
      <pc:sldChg chg="add">
        <pc:chgData name="Gintare Vitkauskaite" userId="fcee79df-4ed1-45d4-8c05-9b9f3354d122" providerId="ADAL" clId="{6313438A-E452-410F-953B-6968086203D6}" dt="2022-02-11T15:55:25.840" v="5920"/>
        <pc:sldMkLst>
          <pc:docMk/>
          <pc:sldMk cId="3400783739" sldId="468"/>
        </pc:sldMkLst>
      </pc:sldChg>
    </pc:docChg>
  </pc:docChgLst>
  <pc:docChgLst>
    <pc:chgData name="Gintare Vitkauskaite" userId="fcee79df-4ed1-45d4-8c05-9b9f3354d122" providerId="ADAL" clId="{55D091DE-5B20-4531-9908-DBEE67C10164}"/>
    <pc:docChg chg="undo custSel addSld delSld modSld modMainMaster">
      <pc:chgData name="Gintare Vitkauskaite" userId="fcee79df-4ed1-45d4-8c05-9b9f3354d122" providerId="ADAL" clId="{55D091DE-5B20-4531-9908-DBEE67C10164}" dt="2022-02-15T10:43:06.167" v="5560" actId="20577"/>
      <pc:docMkLst>
        <pc:docMk/>
      </pc:docMkLst>
      <pc:sldChg chg="addSp delSp modSp mod">
        <pc:chgData name="Gintare Vitkauskaite" userId="fcee79df-4ed1-45d4-8c05-9b9f3354d122" providerId="ADAL" clId="{55D091DE-5B20-4531-9908-DBEE67C10164}" dt="2022-02-14T16:30:55.642" v="65" actId="1037"/>
        <pc:sldMkLst>
          <pc:docMk/>
          <pc:sldMk cId="2381843795" sldId="362"/>
        </pc:sldMkLst>
        <pc:picChg chg="add mod modCrop">
          <ac:chgData name="Gintare Vitkauskaite" userId="fcee79df-4ed1-45d4-8c05-9b9f3354d122" providerId="ADAL" clId="{55D091DE-5B20-4531-9908-DBEE67C10164}" dt="2022-02-14T16:26:24.370" v="20" actId="14100"/>
          <ac:picMkLst>
            <pc:docMk/>
            <pc:sldMk cId="2381843795" sldId="362"/>
            <ac:picMk id="6" creationId="{A66C4986-5CC2-46B0-9A36-83F4C67C58A7}"/>
          </ac:picMkLst>
        </pc:picChg>
        <pc:picChg chg="mod">
          <ac:chgData name="Gintare Vitkauskaite" userId="fcee79df-4ed1-45d4-8c05-9b9f3354d122" providerId="ADAL" clId="{55D091DE-5B20-4531-9908-DBEE67C10164}" dt="2022-02-14T16:28:03.136" v="25" actId="1076"/>
          <ac:picMkLst>
            <pc:docMk/>
            <pc:sldMk cId="2381843795" sldId="362"/>
            <ac:picMk id="9" creationId="{969F6516-E574-473B-9833-5CDD3B0A50FC}"/>
          </ac:picMkLst>
        </pc:picChg>
        <pc:picChg chg="del">
          <ac:chgData name="Gintare Vitkauskaite" userId="fcee79df-4ed1-45d4-8c05-9b9f3354d122" providerId="ADAL" clId="{55D091DE-5B20-4531-9908-DBEE67C10164}" dt="2022-02-14T16:25:02.206" v="7" actId="478"/>
          <ac:picMkLst>
            <pc:docMk/>
            <pc:sldMk cId="2381843795" sldId="362"/>
            <ac:picMk id="10" creationId="{963D7AEB-91B6-458C-A8C1-235CA18A0335}"/>
          </ac:picMkLst>
        </pc:picChg>
        <pc:picChg chg="del">
          <ac:chgData name="Gintare Vitkauskaite" userId="fcee79df-4ed1-45d4-8c05-9b9f3354d122" providerId="ADAL" clId="{55D091DE-5B20-4531-9908-DBEE67C10164}" dt="2022-02-14T16:24:38.464" v="3" actId="478"/>
          <ac:picMkLst>
            <pc:docMk/>
            <pc:sldMk cId="2381843795" sldId="362"/>
            <ac:picMk id="11" creationId="{13555242-22EA-4585-9DF3-373839F92992}"/>
          </ac:picMkLst>
        </pc:picChg>
        <pc:picChg chg="mod modCrop">
          <ac:chgData name="Gintare Vitkauskaite" userId="fcee79df-4ed1-45d4-8c05-9b9f3354d122" providerId="ADAL" clId="{55D091DE-5B20-4531-9908-DBEE67C10164}" dt="2022-02-14T16:28:09.501" v="43" actId="1038"/>
          <ac:picMkLst>
            <pc:docMk/>
            <pc:sldMk cId="2381843795" sldId="362"/>
            <ac:picMk id="12" creationId="{6F945249-6785-49DD-B994-54297FD2D264}"/>
          </ac:picMkLst>
        </pc:picChg>
        <pc:picChg chg="add mod modCrop">
          <ac:chgData name="Gintare Vitkauskaite" userId="fcee79df-4ed1-45d4-8c05-9b9f3354d122" providerId="ADAL" clId="{55D091DE-5B20-4531-9908-DBEE67C10164}" dt="2022-02-14T16:30:55.642" v="65" actId="1037"/>
          <ac:picMkLst>
            <pc:docMk/>
            <pc:sldMk cId="2381843795" sldId="362"/>
            <ac:picMk id="13" creationId="{0B6EF259-53CD-45D1-AA0C-BED75B1FA092}"/>
          </ac:picMkLst>
        </pc:picChg>
      </pc:sldChg>
      <pc:sldChg chg="addSp modSp mod">
        <pc:chgData name="Gintare Vitkauskaite" userId="fcee79df-4ed1-45d4-8c05-9b9f3354d122" providerId="ADAL" clId="{55D091DE-5B20-4531-9908-DBEE67C10164}" dt="2022-02-15T06:02:55.581" v="321" actId="404"/>
        <pc:sldMkLst>
          <pc:docMk/>
          <pc:sldMk cId="2969992210" sldId="365"/>
        </pc:sldMkLst>
        <pc:spChg chg="mod">
          <ac:chgData name="Gintare Vitkauskaite" userId="fcee79df-4ed1-45d4-8c05-9b9f3354d122" providerId="ADAL" clId="{55D091DE-5B20-4531-9908-DBEE67C10164}" dt="2022-02-15T06:01:23.171" v="270" actId="20577"/>
          <ac:spMkLst>
            <pc:docMk/>
            <pc:sldMk cId="2969992210" sldId="365"/>
            <ac:spMk id="14" creationId="{D98C4978-88CB-4F72-9046-EF240B62D1F2}"/>
          </ac:spMkLst>
        </pc:spChg>
        <pc:spChg chg="add mod">
          <ac:chgData name="Gintare Vitkauskaite" userId="fcee79df-4ed1-45d4-8c05-9b9f3354d122" providerId="ADAL" clId="{55D091DE-5B20-4531-9908-DBEE67C10164}" dt="2022-02-15T06:02:55.581" v="321" actId="404"/>
          <ac:spMkLst>
            <pc:docMk/>
            <pc:sldMk cId="2969992210" sldId="365"/>
            <ac:spMk id="15" creationId="{8CAD4D44-2F6A-4C97-A468-BA799D206536}"/>
          </ac:spMkLst>
        </pc:spChg>
      </pc:sldChg>
      <pc:sldChg chg="delSp modSp mod">
        <pc:chgData name="Gintare Vitkauskaite" userId="fcee79df-4ed1-45d4-8c05-9b9f3354d122" providerId="ADAL" clId="{55D091DE-5B20-4531-9908-DBEE67C10164}" dt="2022-02-15T06:01:06.381" v="242" actId="207"/>
        <pc:sldMkLst>
          <pc:docMk/>
          <pc:sldMk cId="2201633665" sldId="406"/>
        </pc:sldMkLst>
        <pc:spChg chg="mod">
          <ac:chgData name="Gintare Vitkauskaite" userId="fcee79df-4ed1-45d4-8c05-9b9f3354d122" providerId="ADAL" clId="{55D091DE-5B20-4531-9908-DBEE67C10164}" dt="2022-02-15T06:00:59.141" v="239" actId="207"/>
          <ac:spMkLst>
            <pc:docMk/>
            <pc:sldMk cId="2201633665" sldId="406"/>
            <ac:spMk id="44" creationId="{1CE5F035-5EF9-4C2B-A122-415CDBC76807}"/>
          </ac:spMkLst>
        </pc:spChg>
        <pc:spChg chg="del">
          <ac:chgData name="Gintare Vitkauskaite" userId="fcee79df-4ed1-45d4-8c05-9b9f3354d122" providerId="ADAL" clId="{55D091DE-5B20-4531-9908-DBEE67C10164}" dt="2022-02-15T06:01:01.151" v="240" actId="478"/>
          <ac:spMkLst>
            <pc:docMk/>
            <pc:sldMk cId="2201633665" sldId="406"/>
            <ac:spMk id="45" creationId="{AE31B9C5-5BCF-432C-91EB-B468128FEA41}"/>
          </ac:spMkLst>
        </pc:spChg>
        <pc:spChg chg="mod">
          <ac:chgData name="Gintare Vitkauskaite" userId="fcee79df-4ed1-45d4-8c05-9b9f3354d122" providerId="ADAL" clId="{55D091DE-5B20-4531-9908-DBEE67C10164}" dt="2022-02-15T06:01:06.381" v="242" actId="207"/>
          <ac:spMkLst>
            <pc:docMk/>
            <pc:sldMk cId="2201633665" sldId="406"/>
            <ac:spMk id="46" creationId="{DE391F14-887D-4301-865D-8FA664521DBC}"/>
          </ac:spMkLst>
        </pc:spChg>
      </pc:sldChg>
      <pc:sldChg chg="modSp mod modNotesTx">
        <pc:chgData name="Gintare Vitkauskaite" userId="fcee79df-4ed1-45d4-8c05-9b9f3354d122" providerId="ADAL" clId="{55D091DE-5B20-4531-9908-DBEE67C10164}" dt="2022-02-15T08:41:51.880" v="2094" actId="20577"/>
        <pc:sldMkLst>
          <pc:docMk/>
          <pc:sldMk cId="1215038336" sldId="433"/>
        </pc:sldMkLst>
        <pc:spChg chg="mod">
          <ac:chgData name="Gintare Vitkauskaite" userId="fcee79df-4ed1-45d4-8c05-9b9f3354d122" providerId="ADAL" clId="{55D091DE-5B20-4531-9908-DBEE67C10164}" dt="2022-02-15T08:41:51.880" v="2094" actId="20577"/>
          <ac:spMkLst>
            <pc:docMk/>
            <pc:sldMk cId="1215038336" sldId="433"/>
            <ac:spMk id="6" creationId="{E897F333-493C-493B-847D-F598464A1F62}"/>
          </ac:spMkLst>
        </pc:spChg>
      </pc:sldChg>
      <pc:sldChg chg="del">
        <pc:chgData name="Gintare Vitkauskaite" userId="fcee79df-4ed1-45d4-8c05-9b9f3354d122" providerId="ADAL" clId="{55D091DE-5B20-4531-9908-DBEE67C10164}" dt="2022-02-15T06:01:30.921" v="271" actId="47"/>
        <pc:sldMkLst>
          <pc:docMk/>
          <pc:sldMk cId="2018963537" sldId="437"/>
        </pc:sldMkLst>
      </pc:sldChg>
      <pc:sldChg chg="del">
        <pc:chgData name="Gintare Vitkauskaite" userId="fcee79df-4ed1-45d4-8c05-9b9f3354d122" providerId="ADAL" clId="{55D091DE-5B20-4531-9908-DBEE67C10164}" dt="2022-02-15T06:01:55.651" v="272" actId="47"/>
        <pc:sldMkLst>
          <pc:docMk/>
          <pc:sldMk cId="2588766084" sldId="438"/>
        </pc:sldMkLst>
      </pc:sldChg>
      <pc:sldChg chg="modSp mod modNotesTx">
        <pc:chgData name="Gintare Vitkauskaite" userId="fcee79df-4ed1-45d4-8c05-9b9f3354d122" providerId="ADAL" clId="{55D091DE-5B20-4531-9908-DBEE67C10164}" dt="2022-02-14T16:36:50.563" v="97" actId="20577"/>
        <pc:sldMkLst>
          <pc:docMk/>
          <pc:sldMk cId="3941309698" sldId="439"/>
        </pc:sldMkLst>
        <pc:spChg chg="mod">
          <ac:chgData name="Gintare Vitkauskaite" userId="fcee79df-4ed1-45d4-8c05-9b9f3354d122" providerId="ADAL" clId="{55D091DE-5B20-4531-9908-DBEE67C10164}" dt="2022-02-14T16:36:50.563" v="97" actId="20577"/>
          <ac:spMkLst>
            <pc:docMk/>
            <pc:sldMk cId="3941309698" sldId="439"/>
            <ac:spMk id="2" creationId="{6212F55E-8570-4D2E-B6BB-B1F44BEEC9DA}"/>
          </ac:spMkLst>
        </pc:spChg>
      </pc:sldChg>
      <pc:sldChg chg="modSp mod modNotesTx">
        <pc:chgData name="Gintare Vitkauskaite" userId="fcee79df-4ed1-45d4-8c05-9b9f3354d122" providerId="ADAL" clId="{55D091DE-5B20-4531-9908-DBEE67C10164}" dt="2022-02-14T16:37:23.124" v="122" actId="20577"/>
        <pc:sldMkLst>
          <pc:docMk/>
          <pc:sldMk cId="1083499074" sldId="440"/>
        </pc:sldMkLst>
        <pc:spChg chg="mod">
          <ac:chgData name="Gintare Vitkauskaite" userId="fcee79df-4ed1-45d4-8c05-9b9f3354d122" providerId="ADAL" clId="{55D091DE-5B20-4531-9908-DBEE67C10164}" dt="2022-02-14T16:37:23.124" v="122" actId="20577"/>
          <ac:spMkLst>
            <pc:docMk/>
            <pc:sldMk cId="1083499074" sldId="440"/>
            <ac:spMk id="2" creationId="{24E19412-BA6A-408B-90C4-BF3FB3BE9B6B}"/>
          </ac:spMkLst>
        </pc:spChg>
      </pc:sldChg>
      <pc:sldChg chg="modSp mod modNotesTx">
        <pc:chgData name="Gintare Vitkauskaite" userId="fcee79df-4ed1-45d4-8c05-9b9f3354d122" providerId="ADAL" clId="{55D091DE-5B20-4531-9908-DBEE67C10164}" dt="2022-02-14T16:39:21.419" v="192" actId="20577"/>
        <pc:sldMkLst>
          <pc:docMk/>
          <pc:sldMk cId="500580820" sldId="441"/>
        </pc:sldMkLst>
        <pc:spChg chg="mod">
          <ac:chgData name="Gintare Vitkauskaite" userId="fcee79df-4ed1-45d4-8c05-9b9f3354d122" providerId="ADAL" clId="{55D091DE-5B20-4531-9908-DBEE67C10164}" dt="2022-02-14T16:39:21.419" v="192" actId="20577"/>
          <ac:spMkLst>
            <pc:docMk/>
            <pc:sldMk cId="500580820" sldId="441"/>
            <ac:spMk id="2" creationId="{915E3DDC-EAB2-4739-B6F6-341C99C2599E}"/>
          </ac:spMkLst>
        </pc:spChg>
      </pc:sldChg>
      <pc:sldChg chg="del">
        <pc:chgData name="Gintare Vitkauskaite" userId="fcee79df-4ed1-45d4-8c05-9b9f3354d122" providerId="ADAL" clId="{55D091DE-5B20-4531-9908-DBEE67C10164}" dt="2022-02-15T06:03:48.865" v="322" actId="47"/>
        <pc:sldMkLst>
          <pc:docMk/>
          <pc:sldMk cId="1421444607" sldId="445"/>
        </pc:sldMkLst>
      </pc:sldChg>
      <pc:sldChg chg="modSp mod">
        <pc:chgData name="Gintare Vitkauskaite" userId="fcee79df-4ed1-45d4-8c05-9b9f3354d122" providerId="ADAL" clId="{55D091DE-5B20-4531-9908-DBEE67C10164}" dt="2022-02-15T09:13:34.614" v="2730" actId="20577"/>
        <pc:sldMkLst>
          <pc:docMk/>
          <pc:sldMk cId="1109741991" sldId="447"/>
        </pc:sldMkLst>
        <pc:spChg chg="mod">
          <ac:chgData name="Gintare Vitkauskaite" userId="fcee79df-4ed1-45d4-8c05-9b9f3354d122" providerId="ADAL" clId="{55D091DE-5B20-4531-9908-DBEE67C10164}" dt="2022-02-15T09:12:46.502" v="2675" actId="20577"/>
          <ac:spMkLst>
            <pc:docMk/>
            <pc:sldMk cId="1109741991" sldId="447"/>
            <ac:spMk id="18" creationId="{486AEF5D-30F6-4F3A-9A0F-56A8CF84CCF5}"/>
          </ac:spMkLst>
        </pc:spChg>
        <pc:spChg chg="mod">
          <ac:chgData name="Gintare Vitkauskaite" userId="fcee79df-4ed1-45d4-8c05-9b9f3354d122" providerId="ADAL" clId="{55D091DE-5B20-4531-9908-DBEE67C10164}" dt="2022-02-15T09:13:09.609" v="2689" actId="6549"/>
          <ac:spMkLst>
            <pc:docMk/>
            <pc:sldMk cId="1109741991" sldId="447"/>
            <ac:spMk id="37" creationId="{C74B8469-6B4D-40AE-9FF8-E931DEDE5EFF}"/>
          </ac:spMkLst>
        </pc:spChg>
        <pc:spChg chg="mod">
          <ac:chgData name="Gintare Vitkauskaite" userId="fcee79df-4ed1-45d4-8c05-9b9f3354d122" providerId="ADAL" clId="{55D091DE-5B20-4531-9908-DBEE67C10164}" dt="2022-02-15T09:13:34.614" v="2730" actId="20577"/>
          <ac:spMkLst>
            <pc:docMk/>
            <pc:sldMk cId="1109741991" sldId="447"/>
            <ac:spMk id="43" creationId="{57F6E1ED-4727-40EC-8887-86E88EE89ECE}"/>
          </ac:spMkLst>
        </pc:spChg>
      </pc:sldChg>
      <pc:sldChg chg="del">
        <pc:chgData name="Gintare Vitkauskaite" userId="fcee79df-4ed1-45d4-8c05-9b9f3354d122" providerId="ADAL" clId="{55D091DE-5B20-4531-9908-DBEE67C10164}" dt="2022-02-15T08:40:49.110" v="1989" actId="47"/>
        <pc:sldMkLst>
          <pc:docMk/>
          <pc:sldMk cId="3219543881" sldId="448"/>
        </pc:sldMkLst>
      </pc:sldChg>
      <pc:sldChg chg="delSp modSp mod">
        <pc:chgData name="Gintare Vitkauskaite" userId="fcee79df-4ed1-45d4-8c05-9b9f3354d122" providerId="ADAL" clId="{55D091DE-5B20-4531-9908-DBEE67C10164}" dt="2022-02-15T09:21:08.398" v="2978" actId="1038"/>
        <pc:sldMkLst>
          <pc:docMk/>
          <pc:sldMk cId="3491903191" sldId="449"/>
        </pc:sldMkLst>
        <pc:spChg chg="mod">
          <ac:chgData name="Gintare Vitkauskaite" userId="fcee79df-4ed1-45d4-8c05-9b9f3354d122" providerId="ADAL" clId="{55D091DE-5B20-4531-9908-DBEE67C10164}" dt="2022-02-15T09:20:24.073" v="2874" actId="20577"/>
          <ac:spMkLst>
            <pc:docMk/>
            <pc:sldMk cId="3491903191" sldId="449"/>
            <ac:spMk id="2" creationId="{E350CF06-F67F-46A1-A04D-A878CEED134A}"/>
          </ac:spMkLst>
        </pc:spChg>
        <pc:spChg chg="mod">
          <ac:chgData name="Gintare Vitkauskaite" userId="fcee79df-4ed1-45d4-8c05-9b9f3354d122" providerId="ADAL" clId="{55D091DE-5B20-4531-9908-DBEE67C10164}" dt="2022-02-15T09:21:08.398" v="2978" actId="1038"/>
          <ac:spMkLst>
            <pc:docMk/>
            <pc:sldMk cId="3491903191" sldId="449"/>
            <ac:spMk id="12" creationId="{2A476A9C-E995-480E-8E94-35DA286ECA22}"/>
          </ac:spMkLst>
        </pc:spChg>
        <pc:spChg chg="mod">
          <ac:chgData name="Gintare Vitkauskaite" userId="fcee79df-4ed1-45d4-8c05-9b9f3354d122" providerId="ADAL" clId="{55D091DE-5B20-4531-9908-DBEE67C10164}" dt="2022-02-15T09:21:08.398" v="2978" actId="1038"/>
          <ac:spMkLst>
            <pc:docMk/>
            <pc:sldMk cId="3491903191" sldId="449"/>
            <ac:spMk id="18" creationId="{486AEF5D-30F6-4F3A-9A0F-56A8CF84CCF5}"/>
          </ac:spMkLst>
        </pc:spChg>
        <pc:spChg chg="mod">
          <ac:chgData name="Gintare Vitkauskaite" userId="fcee79df-4ed1-45d4-8c05-9b9f3354d122" providerId="ADAL" clId="{55D091DE-5B20-4531-9908-DBEE67C10164}" dt="2022-02-15T09:21:08.398" v="2978" actId="1038"/>
          <ac:spMkLst>
            <pc:docMk/>
            <pc:sldMk cId="3491903191" sldId="449"/>
            <ac:spMk id="33" creationId="{CB6C5C18-549F-4AB1-ABC9-FEE125152494}"/>
          </ac:spMkLst>
        </pc:spChg>
        <pc:spChg chg="mod">
          <ac:chgData name="Gintare Vitkauskaite" userId="fcee79df-4ed1-45d4-8c05-9b9f3354d122" providerId="ADAL" clId="{55D091DE-5B20-4531-9908-DBEE67C10164}" dt="2022-02-15T09:21:08.398" v="2978" actId="1038"/>
          <ac:spMkLst>
            <pc:docMk/>
            <pc:sldMk cId="3491903191" sldId="449"/>
            <ac:spMk id="37" creationId="{C74B8469-6B4D-40AE-9FF8-E931DEDE5EFF}"/>
          </ac:spMkLst>
        </pc:spChg>
        <pc:spChg chg="del">
          <ac:chgData name="Gintare Vitkauskaite" userId="fcee79df-4ed1-45d4-8c05-9b9f3354d122" providerId="ADAL" clId="{55D091DE-5B20-4531-9908-DBEE67C10164}" dt="2022-02-15T09:20:06.494" v="2836" actId="478"/>
          <ac:spMkLst>
            <pc:docMk/>
            <pc:sldMk cId="3491903191" sldId="449"/>
            <ac:spMk id="39" creationId="{E4B6382C-1478-43D6-921B-96F2A843BB7A}"/>
          </ac:spMkLst>
        </pc:spChg>
        <pc:spChg chg="del mod">
          <ac:chgData name="Gintare Vitkauskaite" userId="fcee79df-4ed1-45d4-8c05-9b9f3354d122" providerId="ADAL" clId="{55D091DE-5B20-4531-9908-DBEE67C10164}" dt="2022-02-15T09:20:06.494" v="2836" actId="478"/>
          <ac:spMkLst>
            <pc:docMk/>
            <pc:sldMk cId="3491903191" sldId="449"/>
            <ac:spMk id="43" creationId="{57F6E1ED-4727-40EC-8887-86E88EE89ECE}"/>
          </ac:spMkLst>
        </pc:spChg>
        <pc:grpChg chg="mod">
          <ac:chgData name="Gintare Vitkauskaite" userId="fcee79df-4ed1-45d4-8c05-9b9f3354d122" providerId="ADAL" clId="{55D091DE-5B20-4531-9908-DBEE67C10164}" dt="2022-02-15T09:21:08.398" v="2978" actId="1038"/>
          <ac:grpSpMkLst>
            <pc:docMk/>
            <pc:sldMk cId="3491903191" sldId="449"/>
            <ac:grpSpMk id="13" creationId="{6FF6DCE5-6046-40BF-B824-72ECC9EF7F29}"/>
          </ac:grpSpMkLst>
        </pc:grpChg>
        <pc:grpChg chg="mod">
          <ac:chgData name="Gintare Vitkauskaite" userId="fcee79df-4ed1-45d4-8c05-9b9f3354d122" providerId="ADAL" clId="{55D091DE-5B20-4531-9908-DBEE67C10164}" dt="2022-02-15T09:21:08.398" v="2978" actId="1038"/>
          <ac:grpSpMkLst>
            <pc:docMk/>
            <pc:sldMk cId="3491903191" sldId="449"/>
            <ac:grpSpMk id="34" creationId="{D609BA43-417E-4757-B706-DD3ACEFBF4BE}"/>
          </ac:grpSpMkLst>
        </pc:grpChg>
        <pc:grpChg chg="del">
          <ac:chgData name="Gintare Vitkauskaite" userId="fcee79df-4ed1-45d4-8c05-9b9f3354d122" providerId="ADAL" clId="{55D091DE-5B20-4531-9908-DBEE67C10164}" dt="2022-02-15T09:20:06.494" v="2836" actId="478"/>
          <ac:grpSpMkLst>
            <pc:docMk/>
            <pc:sldMk cId="3491903191" sldId="449"/>
            <ac:grpSpMk id="40" creationId="{6529504E-9565-42F1-A711-5404468FA1B7}"/>
          </ac:grpSpMkLst>
        </pc:grpChg>
      </pc:sldChg>
      <pc:sldChg chg="delSp modSp mod modNotesTx">
        <pc:chgData name="Gintare Vitkauskaite" userId="fcee79df-4ed1-45d4-8c05-9b9f3354d122" providerId="ADAL" clId="{55D091DE-5B20-4531-9908-DBEE67C10164}" dt="2022-02-15T09:04:40.830" v="2626" actId="14100"/>
        <pc:sldMkLst>
          <pc:docMk/>
          <pc:sldMk cId="1887488718" sldId="450"/>
        </pc:sldMkLst>
        <pc:spChg chg="mod">
          <ac:chgData name="Gintare Vitkauskaite" userId="fcee79df-4ed1-45d4-8c05-9b9f3354d122" providerId="ADAL" clId="{55D091DE-5B20-4531-9908-DBEE67C10164}" dt="2022-02-15T08:47:01.519" v="2412" actId="20577"/>
          <ac:spMkLst>
            <pc:docMk/>
            <pc:sldMk cId="1887488718" sldId="450"/>
            <ac:spMk id="2" creationId="{956F9DAE-868B-4622-98C1-EC77E56D0CE6}"/>
          </ac:spMkLst>
        </pc:spChg>
        <pc:spChg chg="mod">
          <ac:chgData name="Gintare Vitkauskaite" userId="fcee79df-4ed1-45d4-8c05-9b9f3354d122" providerId="ADAL" clId="{55D091DE-5B20-4531-9908-DBEE67C10164}" dt="2022-02-15T08:56:50.638" v="2488" actId="1036"/>
          <ac:spMkLst>
            <pc:docMk/>
            <pc:sldMk cId="1887488718" sldId="450"/>
            <ac:spMk id="6" creationId="{4287DFDC-6891-4312-AB0D-DFDAB3A57D1B}"/>
          </ac:spMkLst>
        </pc:spChg>
        <pc:spChg chg="mod">
          <ac:chgData name="Gintare Vitkauskaite" userId="fcee79df-4ed1-45d4-8c05-9b9f3354d122" providerId="ADAL" clId="{55D091DE-5B20-4531-9908-DBEE67C10164}" dt="2022-02-15T08:56:50.638" v="2488" actId="1036"/>
          <ac:spMkLst>
            <pc:docMk/>
            <pc:sldMk cId="1887488718" sldId="450"/>
            <ac:spMk id="7" creationId="{258B0589-7C30-4F31-A803-1F9D500F5931}"/>
          </ac:spMkLst>
        </pc:spChg>
        <pc:spChg chg="mod">
          <ac:chgData name="Gintare Vitkauskaite" userId="fcee79df-4ed1-45d4-8c05-9b9f3354d122" providerId="ADAL" clId="{55D091DE-5B20-4531-9908-DBEE67C10164}" dt="2022-02-15T08:56:50.638" v="2488" actId="1036"/>
          <ac:spMkLst>
            <pc:docMk/>
            <pc:sldMk cId="1887488718" sldId="450"/>
            <ac:spMk id="8" creationId="{2E9A204C-9403-42BE-9774-5BDCF004CA2D}"/>
          </ac:spMkLst>
        </pc:spChg>
        <pc:spChg chg="mod">
          <ac:chgData name="Gintare Vitkauskaite" userId="fcee79df-4ed1-45d4-8c05-9b9f3354d122" providerId="ADAL" clId="{55D091DE-5B20-4531-9908-DBEE67C10164}" dt="2022-02-15T08:56:50.638" v="2488" actId="1036"/>
          <ac:spMkLst>
            <pc:docMk/>
            <pc:sldMk cId="1887488718" sldId="450"/>
            <ac:spMk id="9" creationId="{B94384C2-6507-4374-B83D-9E7BC89965BE}"/>
          </ac:spMkLst>
        </pc:spChg>
        <pc:spChg chg="mod">
          <ac:chgData name="Gintare Vitkauskaite" userId="fcee79df-4ed1-45d4-8c05-9b9f3354d122" providerId="ADAL" clId="{55D091DE-5B20-4531-9908-DBEE67C10164}" dt="2022-02-15T08:56:50.638" v="2488" actId="1036"/>
          <ac:spMkLst>
            <pc:docMk/>
            <pc:sldMk cId="1887488718" sldId="450"/>
            <ac:spMk id="10" creationId="{2767DE98-492D-4A5C-BA9A-3B60C964CA64}"/>
          </ac:spMkLst>
        </pc:spChg>
        <pc:spChg chg="mod">
          <ac:chgData name="Gintare Vitkauskaite" userId="fcee79df-4ed1-45d4-8c05-9b9f3354d122" providerId="ADAL" clId="{55D091DE-5B20-4531-9908-DBEE67C10164}" dt="2022-02-15T08:56:50.638" v="2488" actId="1036"/>
          <ac:spMkLst>
            <pc:docMk/>
            <pc:sldMk cId="1887488718" sldId="450"/>
            <ac:spMk id="11" creationId="{FEE7C165-4F3D-4C73-942B-677331F0C203}"/>
          </ac:spMkLst>
        </pc:spChg>
        <pc:spChg chg="mod">
          <ac:chgData name="Gintare Vitkauskaite" userId="fcee79df-4ed1-45d4-8c05-9b9f3354d122" providerId="ADAL" clId="{55D091DE-5B20-4531-9908-DBEE67C10164}" dt="2022-02-15T08:56:50.638" v="2488" actId="1036"/>
          <ac:spMkLst>
            <pc:docMk/>
            <pc:sldMk cId="1887488718" sldId="450"/>
            <ac:spMk id="12" creationId="{7D3477EB-F56F-4218-9334-C7BCC67720CB}"/>
          </ac:spMkLst>
        </pc:spChg>
        <pc:spChg chg="mod topLvl">
          <ac:chgData name="Gintare Vitkauskaite" userId="fcee79df-4ed1-45d4-8c05-9b9f3354d122" providerId="ADAL" clId="{55D091DE-5B20-4531-9908-DBEE67C10164}" dt="2022-02-15T09:04:33.821" v="2625" actId="14100"/>
          <ac:spMkLst>
            <pc:docMk/>
            <pc:sldMk cId="1887488718" sldId="450"/>
            <ac:spMk id="18" creationId="{94BEF6FE-9992-423C-A70E-B8BB7E646F7C}"/>
          </ac:spMkLst>
        </pc:spChg>
        <pc:spChg chg="mod topLvl">
          <ac:chgData name="Gintare Vitkauskaite" userId="fcee79df-4ed1-45d4-8c05-9b9f3354d122" providerId="ADAL" clId="{55D091DE-5B20-4531-9908-DBEE67C10164}" dt="2022-02-15T09:04:26.409" v="2623" actId="14100"/>
          <ac:spMkLst>
            <pc:docMk/>
            <pc:sldMk cId="1887488718" sldId="450"/>
            <ac:spMk id="19" creationId="{A1FDC52B-1D29-46EB-8F69-97487A5F16D9}"/>
          </ac:spMkLst>
        </pc:spChg>
        <pc:spChg chg="mod topLvl">
          <ac:chgData name="Gintare Vitkauskaite" userId="fcee79df-4ed1-45d4-8c05-9b9f3354d122" providerId="ADAL" clId="{55D091DE-5B20-4531-9908-DBEE67C10164}" dt="2022-02-15T09:04:12.030" v="2606" actId="165"/>
          <ac:spMkLst>
            <pc:docMk/>
            <pc:sldMk cId="1887488718" sldId="450"/>
            <ac:spMk id="21" creationId="{FECF99FC-30AA-42A5-ADB8-736A8D88C1E3}"/>
          </ac:spMkLst>
        </pc:spChg>
        <pc:spChg chg="mod topLvl">
          <ac:chgData name="Gintare Vitkauskaite" userId="fcee79df-4ed1-45d4-8c05-9b9f3354d122" providerId="ADAL" clId="{55D091DE-5B20-4531-9908-DBEE67C10164}" dt="2022-02-15T09:04:20.580" v="2622" actId="1036"/>
          <ac:spMkLst>
            <pc:docMk/>
            <pc:sldMk cId="1887488718" sldId="450"/>
            <ac:spMk id="22" creationId="{79BAFC15-4BE7-4B49-BA4B-DEDF5D34E0D1}"/>
          </ac:spMkLst>
        </pc:spChg>
        <pc:spChg chg="mod topLvl">
          <ac:chgData name="Gintare Vitkauskaite" userId="fcee79df-4ed1-45d4-8c05-9b9f3354d122" providerId="ADAL" clId="{55D091DE-5B20-4531-9908-DBEE67C10164}" dt="2022-02-15T09:04:40.830" v="2626" actId="14100"/>
          <ac:spMkLst>
            <pc:docMk/>
            <pc:sldMk cId="1887488718" sldId="450"/>
            <ac:spMk id="23" creationId="{C23886BE-77F2-4437-A158-ACFB04904D0B}"/>
          </ac:spMkLst>
        </pc:spChg>
        <pc:spChg chg="mod topLvl">
          <ac:chgData name="Gintare Vitkauskaite" userId="fcee79df-4ed1-45d4-8c05-9b9f3354d122" providerId="ADAL" clId="{55D091DE-5B20-4531-9908-DBEE67C10164}" dt="2022-02-15T09:04:20.580" v="2622" actId="1036"/>
          <ac:spMkLst>
            <pc:docMk/>
            <pc:sldMk cId="1887488718" sldId="450"/>
            <ac:spMk id="24" creationId="{09DE74AB-D45A-4FEC-AFA5-0195549FD51D}"/>
          </ac:spMkLst>
        </pc:spChg>
        <pc:spChg chg="mod">
          <ac:chgData name="Gintare Vitkauskaite" userId="fcee79df-4ed1-45d4-8c05-9b9f3354d122" providerId="ADAL" clId="{55D091DE-5B20-4531-9908-DBEE67C10164}" dt="2022-02-15T08:56:50.638" v="2488" actId="1036"/>
          <ac:spMkLst>
            <pc:docMk/>
            <pc:sldMk cId="1887488718" sldId="450"/>
            <ac:spMk id="26" creationId="{250FFFFE-E5B1-42C2-B530-4AFAEE885293}"/>
          </ac:spMkLst>
        </pc:spChg>
        <pc:spChg chg="mod">
          <ac:chgData name="Gintare Vitkauskaite" userId="fcee79df-4ed1-45d4-8c05-9b9f3354d122" providerId="ADAL" clId="{55D091DE-5B20-4531-9908-DBEE67C10164}" dt="2022-02-15T09:04:20.580" v="2622" actId="1036"/>
          <ac:spMkLst>
            <pc:docMk/>
            <pc:sldMk cId="1887488718" sldId="450"/>
            <ac:spMk id="27" creationId="{3DC704CE-9F82-4A2C-A7F3-013906D42620}"/>
          </ac:spMkLst>
        </pc:spChg>
        <pc:spChg chg="mod">
          <ac:chgData name="Gintare Vitkauskaite" userId="fcee79df-4ed1-45d4-8c05-9b9f3354d122" providerId="ADAL" clId="{55D091DE-5B20-4531-9908-DBEE67C10164}" dt="2022-02-15T09:04:31.280" v="2624" actId="14100"/>
          <ac:spMkLst>
            <pc:docMk/>
            <pc:sldMk cId="1887488718" sldId="450"/>
            <ac:spMk id="30" creationId="{D6BB6ACC-DC1F-403E-9A5B-7841E2F6B2DD}"/>
          </ac:spMkLst>
        </pc:spChg>
        <pc:spChg chg="mod">
          <ac:chgData name="Gintare Vitkauskaite" userId="fcee79df-4ed1-45d4-8c05-9b9f3354d122" providerId="ADAL" clId="{55D091DE-5B20-4531-9908-DBEE67C10164}" dt="2022-02-15T08:56:50.638" v="2488" actId="1036"/>
          <ac:spMkLst>
            <pc:docMk/>
            <pc:sldMk cId="1887488718" sldId="450"/>
            <ac:spMk id="32" creationId="{C7079C07-1E13-4310-B39A-1A9171C209D7}"/>
          </ac:spMkLst>
        </pc:spChg>
        <pc:spChg chg="mod">
          <ac:chgData name="Gintare Vitkauskaite" userId="fcee79df-4ed1-45d4-8c05-9b9f3354d122" providerId="ADAL" clId="{55D091DE-5B20-4531-9908-DBEE67C10164}" dt="2022-02-15T08:56:50.638" v="2488" actId="1036"/>
          <ac:spMkLst>
            <pc:docMk/>
            <pc:sldMk cId="1887488718" sldId="450"/>
            <ac:spMk id="33" creationId="{DCA3890C-83EE-4E6D-AB92-811226B28FCA}"/>
          </ac:spMkLst>
        </pc:spChg>
        <pc:spChg chg="mod">
          <ac:chgData name="Gintare Vitkauskaite" userId="fcee79df-4ed1-45d4-8c05-9b9f3354d122" providerId="ADAL" clId="{55D091DE-5B20-4531-9908-DBEE67C10164}" dt="2022-02-15T08:56:50.638" v="2488" actId="1036"/>
          <ac:spMkLst>
            <pc:docMk/>
            <pc:sldMk cId="1887488718" sldId="450"/>
            <ac:spMk id="34" creationId="{CD9D92C9-0793-4A40-BD0F-115A0C11D0EA}"/>
          </ac:spMkLst>
        </pc:spChg>
        <pc:spChg chg="mod">
          <ac:chgData name="Gintare Vitkauskaite" userId="fcee79df-4ed1-45d4-8c05-9b9f3354d122" providerId="ADAL" clId="{55D091DE-5B20-4531-9908-DBEE67C10164}" dt="2022-02-15T08:56:50.638" v="2488" actId="1036"/>
          <ac:spMkLst>
            <pc:docMk/>
            <pc:sldMk cId="1887488718" sldId="450"/>
            <ac:spMk id="35" creationId="{9E18BDFF-233E-45A2-B90E-920A519CD4EA}"/>
          </ac:spMkLst>
        </pc:spChg>
        <pc:spChg chg="mod">
          <ac:chgData name="Gintare Vitkauskaite" userId="fcee79df-4ed1-45d4-8c05-9b9f3354d122" providerId="ADAL" clId="{55D091DE-5B20-4531-9908-DBEE67C10164}" dt="2022-02-15T08:56:50.638" v="2488" actId="1036"/>
          <ac:spMkLst>
            <pc:docMk/>
            <pc:sldMk cId="1887488718" sldId="450"/>
            <ac:spMk id="36" creationId="{AC1A09E0-0581-48E4-AE75-CE9F642D65D2}"/>
          </ac:spMkLst>
        </pc:spChg>
        <pc:spChg chg="mod">
          <ac:chgData name="Gintare Vitkauskaite" userId="fcee79df-4ed1-45d4-8c05-9b9f3354d122" providerId="ADAL" clId="{55D091DE-5B20-4531-9908-DBEE67C10164}" dt="2022-02-15T08:56:50.638" v="2488" actId="1036"/>
          <ac:spMkLst>
            <pc:docMk/>
            <pc:sldMk cId="1887488718" sldId="450"/>
            <ac:spMk id="37" creationId="{62009ECB-E68D-40D2-8713-92868BB4EB8F}"/>
          </ac:spMkLst>
        </pc:spChg>
        <pc:spChg chg="mod">
          <ac:chgData name="Gintare Vitkauskaite" userId="fcee79df-4ed1-45d4-8c05-9b9f3354d122" providerId="ADAL" clId="{55D091DE-5B20-4531-9908-DBEE67C10164}" dt="2022-02-15T08:56:50.638" v="2488" actId="1036"/>
          <ac:spMkLst>
            <pc:docMk/>
            <pc:sldMk cId="1887488718" sldId="450"/>
            <ac:spMk id="38" creationId="{D7A9968B-AFF2-47A9-8F2A-C454AE4056E4}"/>
          </ac:spMkLst>
        </pc:spChg>
        <pc:spChg chg="mod">
          <ac:chgData name="Gintare Vitkauskaite" userId="fcee79df-4ed1-45d4-8c05-9b9f3354d122" providerId="ADAL" clId="{55D091DE-5B20-4531-9908-DBEE67C10164}" dt="2022-02-15T08:56:50.638" v="2488" actId="1036"/>
          <ac:spMkLst>
            <pc:docMk/>
            <pc:sldMk cId="1887488718" sldId="450"/>
            <ac:spMk id="40" creationId="{80E4F083-B88A-477B-B5EF-14CA133C26D8}"/>
          </ac:spMkLst>
        </pc:spChg>
        <pc:spChg chg="mod">
          <ac:chgData name="Gintare Vitkauskaite" userId="fcee79df-4ed1-45d4-8c05-9b9f3354d122" providerId="ADAL" clId="{55D091DE-5B20-4531-9908-DBEE67C10164}" dt="2022-02-15T08:56:50.638" v="2488" actId="1036"/>
          <ac:spMkLst>
            <pc:docMk/>
            <pc:sldMk cId="1887488718" sldId="450"/>
            <ac:spMk id="42" creationId="{2AF1AF56-1E81-4BD4-8309-6ABAB6D160CA}"/>
          </ac:spMkLst>
        </pc:spChg>
        <pc:spChg chg="mod">
          <ac:chgData name="Gintare Vitkauskaite" userId="fcee79df-4ed1-45d4-8c05-9b9f3354d122" providerId="ADAL" clId="{55D091DE-5B20-4531-9908-DBEE67C10164}" dt="2022-02-15T08:56:50.638" v="2488" actId="1036"/>
          <ac:spMkLst>
            <pc:docMk/>
            <pc:sldMk cId="1887488718" sldId="450"/>
            <ac:spMk id="43" creationId="{FBCD7DBD-1B76-4B6D-B5B6-7F4F92ED6754}"/>
          </ac:spMkLst>
        </pc:spChg>
        <pc:spChg chg="mod">
          <ac:chgData name="Gintare Vitkauskaite" userId="fcee79df-4ed1-45d4-8c05-9b9f3354d122" providerId="ADAL" clId="{55D091DE-5B20-4531-9908-DBEE67C10164}" dt="2022-02-15T08:56:50.638" v="2488" actId="1036"/>
          <ac:spMkLst>
            <pc:docMk/>
            <pc:sldMk cId="1887488718" sldId="450"/>
            <ac:spMk id="44" creationId="{7413FAAA-2328-4095-BA29-7DDD56F770C1}"/>
          </ac:spMkLst>
        </pc:spChg>
        <pc:spChg chg="mod">
          <ac:chgData name="Gintare Vitkauskaite" userId="fcee79df-4ed1-45d4-8c05-9b9f3354d122" providerId="ADAL" clId="{55D091DE-5B20-4531-9908-DBEE67C10164}" dt="2022-02-15T08:56:50.638" v="2488" actId="1036"/>
          <ac:spMkLst>
            <pc:docMk/>
            <pc:sldMk cId="1887488718" sldId="450"/>
            <ac:spMk id="45" creationId="{040F4603-D21A-44BD-9161-354F094CEE32}"/>
          </ac:spMkLst>
        </pc:spChg>
        <pc:spChg chg="mod">
          <ac:chgData name="Gintare Vitkauskaite" userId="fcee79df-4ed1-45d4-8c05-9b9f3354d122" providerId="ADAL" clId="{55D091DE-5B20-4531-9908-DBEE67C10164}" dt="2022-02-15T08:56:50.638" v="2488" actId="1036"/>
          <ac:spMkLst>
            <pc:docMk/>
            <pc:sldMk cId="1887488718" sldId="450"/>
            <ac:spMk id="46" creationId="{34101134-AB64-4992-A757-BACC1BE09FB7}"/>
          </ac:spMkLst>
        </pc:spChg>
        <pc:spChg chg="mod">
          <ac:chgData name="Gintare Vitkauskaite" userId="fcee79df-4ed1-45d4-8c05-9b9f3354d122" providerId="ADAL" clId="{55D091DE-5B20-4531-9908-DBEE67C10164}" dt="2022-02-15T08:56:50.638" v="2488" actId="1036"/>
          <ac:spMkLst>
            <pc:docMk/>
            <pc:sldMk cId="1887488718" sldId="450"/>
            <ac:spMk id="47" creationId="{AD55D9A5-249C-4CBF-8807-F3A22A0B9994}"/>
          </ac:spMkLst>
        </pc:spChg>
        <pc:spChg chg="mod">
          <ac:chgData name="Gintare Vitkauskaite" userId="fcee79df-4ed1-45d4-8c05-9b9f3354d122" providerId="ADAL" clId="{55D091DE-5B20-4531-9908-DBEE67C10164}" dt="2022-02-15T08:56:50.638" v="2488" actId="1036"/>
          <ac:spMkLst>
            <pc:docMk/>
            <pc:sldMk cId="1887488718" sldId="450"/>
            <ac:spMk id="48" creationId="{DD89B6EB-201F-4CC9-984F-42B918553CE2}"/>
          </ac:spMkLst>
        </pc:spChg>
        <pc:spChg chg="mod">
          <ac:chgData name="Gintare Vitkauskaite" userId="fcee79df-4ed1-45d4-8c05-9b9f3354d122" providerId="ADAL" clId="{55D091DE-5B20-4531-9908-DBEE67C10164}" dt="2022-02-15T08:56:50.638" v="2488" actId="1036"/>
          <ac:spMkLst>
            <pc:docMk/>
            <pc:sldMk cId="1887488718" sldId="450"/>
            <ac:spMk id="50" creationId="{1D19F7C9-B163-44ED-BBE7-CFF11E323847}"/>
          </ac:spMkLst>
        </pc:spChg>
        <pc:grpChg chg="mod">
          <ac:chgData name="Gintare Vitkauskaite" userId="fcee79df-4ed1-45d4-8c05-9b9f3354d122" providerId="ADAL" clId="{55D091DE-5B20-4531-9908-DBEE67C10164}" dt="2022-02-15T08:56:50.638" v="2488" actId="1036"/>
          <ac:grpSpMkLst>
            <pc:docMk/>
            <pc:sldMk cId="1887488718" sldId="450"/>
            <ac:grpSpMk id="14" creationId="{7981442F-8281-4C7F-93AA-CCC062989890}"/>
          </ac:grpSpMkLst>
        </pc:grpChg>
        <pc:grpChg chg="del mod">
          <ac:chgData name="Gintare Vitkauskaite" userId="fcee79df-4ed1-45d4-8c05-9b9f3354d122" providerId="ADAL" clId="{55D091DE-5B20-4531-9908-DBEE67C10164}" dt="2022-02-15T09:04:12.030" v="2606" actId="165"/>
          <ac:grpSpMkLst>
            <pc:docMk/>
            <pc:sldMk cId="1887488718" sldId="450"/>
            <ac:grpSpMk id="17" creationId="{6583C684-1648-4926-97CF-DB20C83EED0D}"/>
          </ac:grpSpMkLst>
        </pc:grpChg>
        <pc:grpChg chg="mod">
          <ac:chgData name="Gintare Vitkauskaite" userId="fcee79df-4ed1-45d4-8c05-9b9f3354d122" providerId="ADAL" clId="{55D091DE-5B20-4531-9908-DBEE67C10164}" dt="2022-02-15T08:56:50.638" v="2488" actId="1036"/>
          <ac:grpSpMkLst>
            <pc:docMk/>
            <pc:sldMk cId="1887488718" sldId="450"/>
            <ac:grpSpMk id="31" creationId="{B75CDC15-3B64-492D-AB46-A14C3558B811}"/>
          </ac:grpSpMkLst>
        </pc:grpChg>
        <pc:grpChg chg="mod">
          <ac:chgData name="Gintare Vitkauskaite" userId="fcee79df-4ed1-45d4-8c05-9b9f3354d122" providerId="ADAL" clId="{55D091DE-5B20-4531-9908-DBEE67C10164}" dt="2022-02-15T08:56:50.638" v="2488" actId="1036"/>
          <ac:grpSpMkLst>
            <pc:docMk/>
            <pc:sldMk cId="1887488718" sldId="450"/>
            <ac:grpSpMk id="41" creationId="{20181833-5D52-45B1-82E7-4B36A9354283}"/>
          </ac:grpSpMkLst>
        </pc:grpChg>
        <pc:picChg chg="mod">
          <ac:chgData name="Gintare Vitkauskaite" userId="fcee79df-4ed1-45d4-8c05-9b9f3354d122" providerId="ADAL" clId="{55D091DE-5B20-4531-9908-DBEE67C10164}" dt="2022-02-15T08:56:50.638" v="2488" actId="1036"/>
          <ac:picMkLst>
            <pc:docMk/>
            <pc:sldMk cId="1887488718" sldId="450"/>
            <ac:picMk id="16" creationId="{803E5D77-AC80-4A3B-9BE7-B66DC7C3B4DF}"/>
          </ac:picMkLst>
        </pc:picChg>
        <pc:picChg chg="mod">
          <ac:chgData name="Gintare Vitkauskaite" userId="fcee79df-4ed1-45d4-8c05-9b9f3354d122" providerId="ADAL" clId="{55D091DE-5B20-4531-9908-DBEE67C10164}" dt="2022-02-15T09:04:20.580" v="2622" actId="1036"/>
          <ac:picMkLst>
            <pc:docMk/>
            <pc:sldMk cId="1887488718" sldId="450"/>
            <ac:picMk id="29" creationId="{4A0B8E8A-6C0D-4ADB-9078-1384E6F9F8BB}"/>
          </ac:picMkLst>
        </pc:picChg>
        <pc:picChg chg="mod">
          <ac:chgData name="Gintare Vitkauskaite" userId="fcee79df-4ed1-45d4-8c05-9b9f3354d122" providerId="ADAL" clId="{55D091DE-5B20-4531-9908-DBEE67C10164}" dt="2022-02-15T08:56:50.638" v="2488" actId="1036"/>
          <ac:picMkLst>
            <pc:docMk/>
            <pc:sldMk cId="1887488718" sldId="450"/>
            <ac:picMk id="39" creationId="{AA01C22D-A0E5-41DF-A87E-A8BA362CFB2C}"/>
          </ac:picMkLst>
        </pc:picChg>
        <pc:picChg chg="mod">
          <ac:chgData name="Gintare Vitkauskaite" userId="fcee79df-4ed1-45d4-8c05-9b9f3354d122" providerId="ADAL" clId="{55D091DE-5B20-4531-9908-DBEE67C10164}" dt="2022-02-15T08:56:50.638" v="2488" actId="1036"/>
          <ac:picMkLst>
            <pc:docMk/>
            <pc:sldMk cId="1887488718" sldId="450"/>
            <ac:picMk id="52" creationId="{5F70FDE1-AFF6-4A2B-8B03-5F5FA3F27101}"/>
          </ac:picMkLst>
        </pc:picChg>
      </pc:sldChg>
      <pc:sldChg chg="modSp mod">
        <pc:chgData name="Gintare Vitkauskaite" userId="fcee79df-4ed1-45d4-8c05-9b9f3354d122" providerId="ADAL" clId="{55D091DE-5B20-4531-9908-DBEE67C10164}" dt="2022-02-15T09:24:58.588" v="3111" actId="20577"/>
        <pc:sldMkLst>
          <pc:docMk/>
          <pc:sldMk cId="2887734875" sldId="451"/>
        </pc:sldMkLst>
        <pc:spChg chg="mod">
          <ac:chgData name="Gintare Vitkauskaite" userId="fcee79df-4ed1-45d4-8c05-9b9f3354d122" providerId="ADAL" clId="{55D091DE-5B20-4531-9908-DBEE67C10164}" dt="2022-02-15T09:24:56.038" v="3110" actId="20577"/>
          <ac:spMkLst>
            <pc:docMk/>
            <pc:sldMk cId="2887734875" sldId="451"/>
            <ac:spMk id="15" creationId="{AA16E7A9-E674-486E-B1A1-25482019E52C}"/>
          </ac:spMkLst>
        </pc:spChg>
        <pc:spChg chg="mod">
          <ac:chgData name="Gintare Vitkauskaite" userId="fcee79df-4ed1-45d4-8c05-9b9f3354d122" providerId="ADAL" clId="{55D091DE-5B20-4531-9908-DBEE67C10164}" dt="2022-02-15T09:23:45.618" v="3101"/>
          <ac:spMkLst>
            <pc:docMk/>
            <pc:sldMk cId="2887734875" sldId="451"/>
            <ac:spMk id="18" creationId="{486AEF5D-30F6-4F3A-9A0F-56A8CF84CCF5}"/>
          </ac:spMkLst>
        </pc:spChg>
        <pc:spChg chg="mod">
          <ac:chgData name="Gintare Vitkauskaite" userId="fcee79df-4ed1-45d4-8c05-9b9f3354d122" providerId="ADAL" clId="{55D091DE-5B20-4531-9908-DBEE67C10164}" dt="2022-02-15T09:24:29.499" v="3107"/>
          <ac:spMkLst>
            <pc:docMk/>
            <pc:sldMk cId="2887734875" sldId="451"/>
            <ac:spMk id="33" creationId="{CB6C5C18-549F-4AB1-ABC9-FEE125152494}"/>
          </ac:spMkLst>
        </pc:spChg>
        <pc:spChg chg="mod">
          <ac:chgData name="Gintare Vitkauskaite" userId="fcee79df-4ed1-45d4-8c05-9b9f3354d122" providerId="ADAL" clId="{55D091DE-5B20-4531-9908-DBEE67C10164}" dt="2022-02-15T09:24:58.588" v="3111" actId="20577"/>
          <ac:spMkLst>
            <pc:docMk/>
            <pc:sldMk cId="2887734875" sldId="451"/>
            <ac:spMk id="36" creationId="{E8D72F5E-511D-4DDA-8EB8-135528A20D5A}"/>
          </ac:spMkLst>
        </pc:spChg>
        <pc:spChg chg="mod">
          <ac:chgData name="Gintare Vitkauskaite" userId="fcee79df-4ed1-45d4-8c05-9b9f3354d122" providerId="ADAL" clId="{55D091DE-5B20-4531-9908-DBEE67C10164}" dt="2022-02-15T09:24:09.538" v="3104"/>
          <ac:spMkLst>
            <pc:docMk/>
            <pc:sldMk cId="2887734875" sldId="451"/>
            <ac:spMk id="37" creationId="{C74B8469-6B4D-40AE-9FF8-E931DEDE5EFF}"/>
          </ac:spMkLst>
        </pc:spChg>
      </pc:sldChg>
      <pc:sldChg chg="addSp delSp modSp mod modNotesTx">
        <pc:chgData name="Gintare Vitkauskaite" userId="fcee79df-4ed1-45d4-8c05-9b9f3354d122" providerId="ADAL" clId="{55D091DE-5B20-4531-9908-DBEE67C10164}" dt="2022-02-15T09:29:50.708" v="3417"/>
        <pc:sldMkLst>
          <pc:docMk/>
          <pc:sldMk cId="3929339795" sldId="453"/>
        </pc:sldMkLst>
        <pc:spChg chg="mod">
          <ac:chgData name="Gintare Vitkauskaite" userId="fcee79df-4ed1-45d4-8c05-9b9f3354d122" providerId="ADAL" clId="{55D091DE-5B20-4531-9908-DBEE67C10164}" dt="2022-02-15T09:26:42.878" v="3177" actId="20577"/>
          <ac:spMkLst>
            <pc:docMk/>
            <pc:sldMk cId="3929339795" sldId="453"/>
            <ac:spMk id="12" creationId="{2A476A9C-E995-480E-8E94-35DA286ECA22}"/>
          </ac:spMkLst>
        </pc:spChg>
        <pc:spChg chg="mod">
          <ac:chgData name="Gintare Vitkauskaite" userId="fcee79df-4ed1-45d4-8c05-9b9f3354d122" providerId="ADAL" clId="{55D091DE-5B20-4531-9908-DBEE67C10164}" dt="2022-02-15T09:25:10.618" v="3113" actId="20577"/>
          <ac:spMkLst>
            <pc:docMk/>
            <pc:sldMk cId="3929339795" sldId="453"/>
            <ac:spMk id="15" creationId="{AA16E7A9-E674-486E-B1A1-25482019E52C}"/>
          </ac:spMkLst>
        </pc:spChg>
        <pc:spChg chg="mod">
          <ac:chgData name="Gintare Vitkauskaite" userId="fcee79df-4ed1-45d4-8c05-9b9f3354d122" providerId="ADAL" clId="{55D091DE-5B20-4531-9908-DBEE67C10164}" dt="2022-02-15T09:26:15.598" v="3137" actId="14100"/>
          <ac:spMkLst>
            <pc:docMk/>
            <pc:sldMk cId="3929339795" sldId="453"/>
            <ac:spMk id="18" creationId="{486AEF5D-30F6-4F3A-9A0F-56A8CF84CCF5}"/>
          </ac:spMkLst>
        </pc:spChg>
        <pc:spChg chg="del">
          <ac:chgData name="Gintare Vitkauskaite" userId="fcee79df-4ed1-45d4-8c05-9b9f3354d122" providerId="ADAL" clId="{55D091DE-5B20-4531-9908-DBEE67C10164}" dt="2022-02-15T09:26:06.268" v="3136" actId="478"/>
          <ac:spMkLst>
            <pc:docMk/>
            <pc:sldMk cId="3929339795" sldId="453"/>
            <ac:spMk id="20" creationId="{EFDD4146-FC51-413E-AB0A-BEFE639B8501}"/>
          </ac:spMkLst>
        </pc:spChg>
        <pc:spChg chg="del">
          <ac:chgData name="Gintare Vitkauskaite" userId="fcee79df-4ed1-45d4-8c05-9b9f3354d122" providerId="ADAL" clId="{55D091DE-5B20-4531-9908-DBEE67C10164}" dt="2022-02-15T09:26:06.268" v="3136" actId="478"/>
          <ac:spMkLst>
            <pc:docMk/>
            <pc:sldMk cId="3929339795" sldId="453"/>
            <ac:spMk id="21" creationId="{8746266F-F753-4E4E-965F-DF3D054C17DA}"/>
          </ac:spMkLst>
        </pc:spChg>
        <pc:spChg chg="del">
          <ac:chgData name="Gintare Vitkauskaite" userId="fcee79df-4ed1-45d4-8c05-9b9f3354d122" providerId="ADAL" clId="{55D091DE-5B20-4531-9908-DBEE67C10164}" dt="2022-02-15T09:26:06.268" v="3136" actId="478"/>
          <ac:spMkLst>
            <pc:docMk/>
            <pc:sldMk cId="3929339795" sldId="453"/>
            <ac:spMk id="25" creationId="{244A3699-D3A0-49E4-BCF3-AD3565EAD51F}"/>
          </ac:spMkLst>
        </pc:spChg>
        <pc:spChg chg="add mod">
          <ac:chgData name="Gintare Vitkauskaite" userId="fcee79df-4ed1-45d4-8c05-9b9f3354d122" providerId="ADAL" clId="{55D091DE-5B20-4531-9908-DBEE67C10164}" dt="2022-02-15T09:28:32.998" v="3268" actId="14100"/>
          <ac:spMkLst>
            <pc:docMk/>
            <pc:sldMk cId="3929339795" sldId="453"/>
            <ac:spMk id="26" creationId="{722EA8F6-C8B4-48DE-BA79-3C656088570A}"/>
          </ac:spMkLst>
        </pc:spChg>
        <pc:spChg chg="add mod">
          <ac:chgData name="Gintare Vitkauskaite" userId="fcee79df-4ed1-45d4-8c05-9b9f3354d122" providerId="ADAL" clId="{55D091DE-5B20-4531-9908-DBEE67C10164}" dt="2022-02-15T09:28:49.328" v="3301" actId="20577"/>
          <ac:spMkLst>
            <pc:docMk/>
            <pc:sldMk cId="3929339795" sldId="453"/>
            <ac:spMk id="27" creationId="{5560308A-5C89-4EE7-B4E7-0A71020037AE}"/>
          </ac:spMkLst>
        </pc:spChg>
        <pc:spChg chg="mod">
          <ac:chgData name="Gintare Vitkauskaite" userId="fcee79df-4ed1-45d4-8c05-9b9f3354d122" providerId="ADAL" clId="{55D091DE-5B20-4531-9908-DBEE67C10164}" dt="2022-02-15T09:27:06.390" v="3178"/>
          <ac:spMkLst>
            <pc:docMk/>
            <pc:sldMk cId="3929339795" sldId="453"/>
            <ac:spMk id="29" creationId="{B3B45C1B-F9E4-4EDB-B527-B65A757C32E4}"/>
          </ac:spMkLst>
        </pc:spChg>
        <pc:spChg chg="mod">
          <ac:chgData name="Gintare Vitkauskaite" userId="fcee79df-4ed1-45d4-8c05-9b9f3354d122" providerId="ADAL" clId="{55D091DE-5B20-4531-9908-DBEE67C10164}" dt="2022-02-15T09:27:20.378" v="3258" actId="20577"/>
          <ac:spMkLst>
            <pc:docMk/>
            <pc:sldMk cId="3929339795" sldId="453"/>
            <ac:spMk id="30" creationId="{532DEFF4-87ED-4066-A6DC-B925EC1C587C}"/>
          </ac:spMkLst>
        </pc:spChg>
        <pc:spChg chg="add mod">
          <ac:chgData name="Gintare Vitkauskaite" userId="fcee79df-4ed1-45d4-8c05-9b9f3354d122" providerId="ADAL" clId="{55D091DE-5B20-4531-9908-DBEE67C10164}" dt="2022-02-15T09:29:50.708" v="3417"/>
          <ac:spMkLst>
            <pc:docMk/>
            <pc:sldMk cId="3929339795" sldId="453"/>
            <ac:spMk id="31" creationId="{813F4DF8-D90B-4BC2-83DB-4718B57AF455}"/>
          </ac:spMkLst>
        </pc:spChg>
        <pc:spChg chg="add mod">
          <ac:chgData name="Gintare Vitkauskaite" userId="fcee79df-4ed1-45d4-8c05-9b9f3354d122" providerId="ADAL" clId="{55D091DE-5B20-4531-9908-DBEE67C10164}" dt="2022-02-15T09:29:30.498" v="3412"/>
          <ac:spMkLst>
            <pc:docMk/>
            <pc:sldMk cId="3929339795" sldId="453"/>
            <ac:spMk id="32" creationId="{2E0B77F9-384F-4261-B77E-60812A6142C7}"/>
          </ac:spMkLst>
        </pc:spChg>
        <pc:spChg chg="del">
          <ac:chgData name="Gintare Vitkauskaite" userId="fcee79df-4ed1-45d4-8c05-9b9f3354d122" providerId="ADAL" clId="{55D091DE-5B20-4531-9908-DBEE67C10164}" dt="2022-02-15T09:26:06.268" v="3136" actId="478"/>
          <ac:spMkLst>
            <pc:docMk/>
            <pc:sldMk cId="3929339795" sldId="453"/>
            <ac:spMk id="33" creationId="{CB6C5C18-549F-4AB1-ABC9-FEE125152494}"/>
          </ac:spMkLst>
        </pc:spChg>
        <pc:spChg chg="del">
          <ac:chgData name="Gintare Vitkauskaite" userId="fcee79df-4ed1-45d4-8c05-9b9f3354d122" providerId="ADAL" clId="{55D091DE-5B20-4531-9908-DBEE67C10164}" dt="2022-02-15T09:26:06.268" v="3136" actId="478"/>
          <ac:spMkLst>
            <pc:docMk/>
            <pc:sldMk cId="3929339795" sldId="453"/>
            <ac:spMk id="37" creationId="{C74B8469-6B4D-40AE-9FF8-E931DEDE5EFF}"/>
          </ac:spMkLst>
        </pc:spChg>
        <pc:spChg chg="del">
          <ac:chgData name="Gintare Vitkauskaite" userId="fcee79df-4ed1-45d4-8c05-9b9f3354d122" providerId="ADAL" clId="{55D091DE-5B20-4531-9908-DBEE67C10164}" dt="2022-02-15T09:26:06.268" v="3136" actId="478"/>
          <ac:spMkLst>
            <pc:docMk/>
            <pc:sldMk cId="3929339795" sldId="453"/>
            <ac:spMk id="39" creationId="{E4B6382C-1478-43D6-921B-96F2A843BB7A}"/>
          </ac:spMkLst>
        </pc:spChg>
        <pc:spChg chg="del">
          <ac:chgData name="Gintare Vitkauskaite" userId="fcee79df-4ed1-45d4-8c05-9b9f3354d122" providerId="ADAL" clId="{55D091DE-5B20-4531-9908-DBEE67C10164}" dt="2022-02-15T09:26:06.268" v="3136" actId="478"/>
          <ac:spMkLst>
            <pc:docMk/>
            <pc:sldMk cId="3929339795" sldId="453"/>
            <ac:spMk id="43" creationId="{57F6E1ED-4727-40EC-8887-86E88EE89ECE}"/>
          </ac:spMkLst>
        </pc:spChg>
        <pc:spChg chg="mod">
          <ac:chgData name="Gintare Vitkauskaite" userId="fcee79df-4ed1-45d4-8c05-9b9f3354d122" providerId="ADAL" clId="{55D091DE-5B20-4531-9908-DBEE67C10164}" dt="2022-02-15T09:29:02.008" v="3302"/>
          <ac:spMkLst>
            <pc:docMk/>
            <pc:sldMk cId="3929339795" sldId="453"/>
            <ac:spMk id="44" creationId="{79475936-296E-4A89-B1EF-48875BC4B632}"/>
          </ac:spMkLst>
        </pc:spChg>
        <pc:spChg chg="mod">
          <ac:chgData name="Gintare Vitkauskaite" userId="fcee79df-4ed1-45d4-8c05-9b9f3354d122" providerId="ADAL" clId="{55D091DE-5B20-4531-9908-DBEE67C10164}" dt="2022-02-15T09:29:34.458" v="3414" actId="20577"/>
          <ac:spMkLst>
            <pc:docMk/>
            <pc:sldMk cId="3929339795" sldId="453"/>
            <ac:spMk id="45" creationId="{64435DCF-CE56-4DA5-B248-F73A501933C7}"/>
          </ac:spMkLst>
        </pc:spChg>
        <pc:grpChg chg="mod">
          <ac:chgData name="Gintare Vitkauskaite" userId="fcee79df-4ed1-45d4-8c05-9b9f3354d122" providerId="ADAL" clId="{55D091DE-5B20-4531-9908-DBEE67C10164}" dt="2022-02-15T09:26:20.148" v="3157" actId="1038"/>
          <ac:grpSpMkLst>
            <pc:docMk/>
            <pc:sldMk cId="3929339795" sldId="453"/>
            <ac:grpSpMk id="13" creationId="{6FF6DCE5-6046-40BF-B824-72ECC9EF7F29}"/>
          </ac:grpSpMkLst>
        </pc:grpChg>
        <pc:grpChg chg="del">
          <ac:chgData name="Gintare Vitkauskaite" userId="fcee79df-4ed1-45d4-8c05-9b9f3354d122" providerId="ADAL" clId="{55D091DE-5B20-4531-9908-DBEE67C10164}" dt="2022-02-15T09:26:06.268" v="3136" actId="478"/>
          <ac:grpSpMkLst>
            <pc:docMk/>
            <pc:sldMk cId="3929339795" sldId="453"/>
            <ac:grpSpMk id="22" creationId="{804F3C2E-B0FD-4BF6-BC41-19E91775D93D}"/>
          </ac:grpSpMkLst>
        </pc:grpChg>
        <pc:grpChg chg="add mod">
          <ac:chgData name="Gintare Vitkauskaite" userId="fcee79df-4ed1-45d4-8c05-9b9f3354d122" providerId="ADAL" clId="{55D091DE-5B20-4531-9908-DBEE67C10164}" dt="2022-02-15T09:27:16.428" v="3256" actId="1038"/>
          <ac:grpSpMkLst>
            <pc:docMk/>
            <pc:sldMk cId="3929339795" sldId="453"/>
            <ac:grpSpMk id="28" creationId="{B40FD4F6-0E28-4B15-AE62-07DD821BA33B}"/>
          </ac:grpSpMkLst>
        </pc:grpChg>
        <pc:grpChg chg="del">
          <ac:chgData name="Gintare Vitkauskaite" userId="fcee79df-4ed1-45d4-8c05-9b9f3354d122" providerId="ADAL" clId="{55D091DE-5B20-4531-9908-DBEE67C10164}" dt="2022-02-15T09:26:06.268" v="3136" actId="478"/>
          <ac:grpSpMkLst>
            <pc:docMk/>
            <pc:sldMk cId="3929339795" sldId="453"/>
            <ac:grpSpMk id="34" creationId="{D609BA43-417E-4757-B706-DD3ACEFBF4BE}"/>
          </ac:grpSpMkLst>
        </pc:grpChg>
        <pc:grpChg chg="add mod">
          <ac:chgData name="Gintare Vitkauskaite" userId="fcee79df-4ed1-45d4-8c05-9b9f3354d122" providerId="ADAL" clId="{55D091DE-5B20-4531-9908-DBEE67C10164}" dt="2022-02-15T09:29:13.539" v="3409" actId="1038"/>
          <ac:grpSpMkLst>
            <pc:docMk/>
            <pc:sldMk cId="3929339795" sldId="453"/>
            <ac:grpSpMk id="38" creationId="{01D73C7C-3097-473D-BC56-084681BF847D}"/>
          </ac:grpSpMkLst>
        </pc:grpChg>
        <pc:grpChg chg="del">
          <ac:chgData name="Gintare Vitkauskaite" userId="fcee79df-4ed1-45d4-8c05-9b9f3354d122" providerId="ADAL" clId="{55D091DE-5B20-4531-9908-DBEE67C10164}" dt="2022-02-15T09:26:06.268" v="3136" actId="478"/>
          <ac:grpSpMkLst>
            <pc:docMk/>
            <pc:sldMk cId="3929339795" sldId="453"/>
            <ac:grpSpMk id="40" creationId="{6529504E-9565-42F1-A711-5404468FA1B7}"/>
          </ac:grpSpMkLst>
        </pc:grpChg>
      </pc:sldChg>
      <pc:sldChg chg="modSp mod modNotesTx">
        <pc:chgData name="Gintare Vitkauskaite" userId="fcee79df-4ed1-45d4-8c05-9b9f3354d122" providerId="ADAL" clId="{55D091DE-5B20-4531-9908-DBEE67C10164}" dt="2022-02-15T08:44:08.429" v="2302" actId="20577"/>
        <pc:sldMkLst>
          <pc:docMk/>
          <pc:sldMk cId="3935203784" sldId="454"/>
        </pc:sldMkLst>
        <pc:spChg chg="mod">
          <ac:chgData name="Gintare Vitkauskaite" userId="fcee79df-4ed1-45d4-8c05-9b9f3354d122" providerId="ADAL" clId="{55D091DE-5B20-4531-9908-DBEE67C10164}" dt="2022-02-15T08:43:35.090" v="2290" actId="20577"/>
          <ac:spMkLst>
            <pc:docMk/>
            <pc:sldMk cId="3935203784" sldId="454"/>
            <ac:spMk id="2" creationId="{815E6DDA-B7B5-4E73-A4CC-5BBC85B8DCA2}"/>
          </ac:spMkLst>
        </pc:spChg>
        <pc:spChg chg="mod">
          <ac:chgData name="Gintare Vitkauskaite" userId="fcee79df-4ed1-45d4-8c05-9b9f3354d122" providerId="ADAL" clId="{55D091DE-5B20-4531-9908-DBEE67C10164}" dt="2022-02-15T08:44:08.429" v="2302" actId="20577"/>
          <ac:spMkLst>
            <pc:docMk/>
            <pc:sldMk cId="3935203784" sldId="454"/>
            <ac:spMk id="5" creationId="{03D93FC9-E684-493F-B3B2-34507F4B161F}"/>
          </ac:spMkLst>
        </pc:spChg>
      </pc:sldChg>
      <pc:sldChg chg="del">
        <pc:chgData name="Gintare Vitkauskaite" userId="fcee79df-4ed1-45d4-8c05-9b9f3354d122" providerId="ADAL" clId="{55D091DE-5B20-4531-9908-DBEE67C10164}" dt="2022-02-15T09:05:28.610" v="2627" actId="47"/>
        <pc:sldMkLst>
          <pc:docMk/>
          <pc:sldMk cId="1185698661" sldId="458"/>
        </pc:sldMkLst>
      </pc:sldChg>
      <pc:sldChg chg="modSp mod modNotesTx">
        <pc:chgData name="Gintare Vitkauskaite" userId="fcee79df-4ed1-45d4-8c05-9b9f3354d122" providerId="ADAL" clId="{55D091DE-5B20-4531-9908-DBEE67C10164}" dt="2022-02-15T08:30:01.809" v="1833" actId="20577"/>
        <pc:sldMkLst>
          <pc:docMk/>
          <pc:sldMk cId="3828611265" sldId="459"/>
        </pc:sldMkLst>
        <pc:spChg chg="mod">
          <ac:chgData name="Gintare Vitkauskaite" userId="fcee79df-4ed1-45d4-8c05-9b9f3354d122" providerId="ADAL" clId="{55D091DE-5B20-4531-9908-DBEE67C10164}" dt="2022-02-15T08:18:48.601" v="1417" actId="20577"/>
          <ac:spMkLst>
            <pc:docMk/>
            <pc:sldMk cId="3828611265" sldId="459"/>
            <ac:spMk id="3" creationId="{EF4B13B2-3547-400D-9BD5-6F744B79A24A}"/>
          </ac:spMkLst>
        </pc:spChg>
        <pc:spChg chg="mod">
          <ac:chgData name="Gintare Vitkauskaite" userId="fcee79df-4ed1-45d4-8c05-9b9f3354d122" providerId="ADAL" clId="{55D091DE-5B20-4531-9908-DBEE67C10164}" dt="2022-02-15T08:30:01.809" v="1833" actId="20577"/>
          <ac:spMkLst>
            <pc:docMk/>
            <pc:sldMk cId="3828611265" sldId="459"/>
            <ac:spMk id="53" creationId="{A347CF0E-C2E2-44BD-81B2-6E6C77E718A9}"/>
          </ac:spMkLst>
        </pc:spChg>
      </pc:sldChg>
      <pc:sldChg chg="modSp mod modNotesTx">
        <pc:chgData name="Gintare Vitkauskaite" userId="fcee79df-4ed1-45d4-8c05-9b9f3354d122" providerId="ADAL" clId="{55D091DE-5B20-4531-9908-DBEE67C10164}" dt="2022-02-15T08:37:52.080" v="1862" actId="20577"/>
        <pc:sldMkLst>
          <pc:docMk/>
          <pc:sldMk cId="2570352800" sldId="460"/>
        </pc:sldMkLst>
        <pc:spChg chg="mod">
          <ac:chgData name="Gintare Vitkauskaite" userId="fcee79df-4ed1-45d4-8c05-9b9f3354d122" providerId="ADAL" clId="{55D091DE-5B20-4531-9908-DBEE67C10164}" dt="2022-02-15T08:37:52.080" v="1862" actId="20577"/>
          <ac:spMkLst>
            <pc:docMk/>
            <pc:sldMk cId="2570352800" sldId="460"/>
            <ac:spMk id="8" creationId="{D4BA0322-774D-45E2-995A-B7FBA65EA31F}"/>
          </ac:spMkLst>
        </pc:spChg>
      </pc:sldChg>
      <pc:sldChg chg="modSp mod modNotesTx">
        <pc:chgData name="Gintare Vitkauskaite" userId="fcee79df-4ed1-45d4-8c05-9b9f3354d122" providerId="ADAL" clId="{55D091DE-5B20-4531-9908-DBEE67C10164}" dt="2022-02-15T08:12:04.925" v="1329" actId="1035"/>
        <pc:sldMkLst>
          <pc:docMk/>
          <pc:sldMk cId="4268286866" sldId="462"/>
        </pc:sldMkLst>
        <pc:spChg chg="mod">
          <ac:chgData name="Gintare Vitkauskaite" userId="fcee79df-4ed1-45d4-8c05-9b9f3354d122" providerId="ADAL" clId="{55D091DE-5B20-4531-9908-DBEE67C10164}" dt="2022-02-15T08:02:18.713" v="974" actId="20577"/>
          <ac:spMkLst>
            <pc:docMk/>
            <pc:sldMk cId="4268286866" sldId="462"/>
            <ac:spMk id="48" creationId="{353B1496-165F-4832-AE3B-63E802404B46}"/>
          </ac:spMkLst>
        </pc:spChg>
        <pc:spChg chg="mod">
          <ac:chgData name="Gintare Vitkauskaite" userId="fcee79df-4ed1-45d4-8c05-9b9f3354d122" providerId="ADAL" clId="{55D091DE-5B20-4531-9908-DBEE67C10164}" dt="2022-02-15T08:12:04.925" v="1329" actId="1035"/>
          <ac:spMkLst>
            <pc:docMk/>
            <pc:sldMk cId="4268286866" sldId="462"/>
            <ac:spMk id="53" creationId="{A347CF0E-C2E2-44BD-81B2-6E6C77E718A9}"/>
          </ac:spMkLst>
        </pc:spChg>
        <pc:spChg chg="mod">
          <ac:chgData name="Gintare Vitkauskaite" userId="fcee79df-4ed1-45d4-8c05-9b9f3354d122" providerId="ADAL" clId="{55D091DE-5B20-4531-9908-DBEE67C10164}" dt="2022-02-15T08:11:57.845" v="1320" actId="1036"/>
          <ac:spMkLst>
            <pc:docMk/>
            <pc:sldMk cId="4268286866" sldId="462"/>
            <ac:spMk id="56" creationId="{99A6280F-9012-4AE6-831B-39CCCB519AE5}"/>
          </ac:spMkLst>
        </pc:spChg>
        <pc:grpChg chg="mod">
          <ac:chgData name="Gintare Vitkauskaite" userId="fcee79df-4ed1-45d4-8c05-9b9f3354d122" providerId="ADAL" clId="{55D091DE-5B20-4531-9908-DBEE67C10164}" dt="2022-02-15T08:12:04.925" v="1329" actId="1035"/>
          <ac:grpSpMkLst>
            <pc:docMk/>
            <pc:sldMk cId="4268286866" sldId="462"/>
            <ac:grpSpMk id="49" creationId="{84DF5076-1DA5-4282-925D-B07553CA42E4}"/>
          </ac:grpSpMkLst>
        </pc:grpChg>
      </pc:sldChg>
      <pc:sldChg chg="modSp mod modNotesTx">
        <pc:chgData name="Gintare Vitkauskaite" userId="fcee79df-4ed1-45d4-8c05-9b9f3354d122" providerId="ADAL" clId="{55D091DE-5B20-4531-9908-DBEE67C10164}" dt="2022-02-15T08:18:13.751" v="1364" actId="20577"/>
        <pc:sldMkLst>
          <pc:docMk/>
          <pc:sldMk cId="1860005955" sldId="463"/>
        </pc:sldMkLst>
        <pc:spChg chg="mod">
          <ac:chgData name="Gintare Vitkauskaite" userId="fcee79df-4ed1-45d4-8c05-9b9f3354d122" providerId="ADAL" clId="{55D091DE-5B20-4531-9908-DBEE67C10164}" dt="2022-02-15T08:14:09.403" v="1363" actId="20577"/>
          <ac:spMkLst>
            <pc:docMk/>
            <pc:sldMk cId="1860005955" sldId="463"/>
            <ac:spMk id="8" creationId="{D4BA0322-774D-45E2-995A-B7FBA65EA31F}"/>
          </ac:spMkLst>
        </pc:spChg>
        <pc:spChg chg="mod">
          <ac:chgData name="Gintare Vitkauskaite" userId="fcee79df-4ed1-45d4-8c05-9b9f3354d122" providerId="ADAL" clId="{55D091DE-5B20-4531-9908-DBEE67C10164}" dt="2022-02-15T08:18:13.751" v="1364" actId="20577"/>
          <ac:spMkLst>
            <pc:docMk/>
            <pc:sldMk cId="1860005955" sldId="463"/>
            <ac:spMk id="17" creationId="{5325A1A7-0F0C-44F3-8DFD-586133FCFBC2}"/>
          </ac:spMkLst>
        </pc:spChg>
      </pc:sldChg>
      <pc:sldChg chg="modSp mod modNotesTx">
        <pc:chgData name="Gintare Vitkauskaite" userId="fcee79df-4ed1-45d4-8c05-9b9f3354d122" providerId="ADAL" clId="{55D091DE-5B20-4531-9908-DBEE67C10164}" dt="2022-02-15T08:38:48.910" v="1988" actId="1035"/>
        <pc:sldMkLst>
          <pc:docMk/>
          <pc:sldMk cId="1959652402" sldId="464"/>
        </pc:sldMkLst>
        <pc:spChg chg="mod">
          <ac:chgData name="Gintare Vitkauskaite" userId="fcee79df-4ed1-45d4-8c05-9b9f3354d122" providerId="ADAL" clId="{55D091DE-5B20-4531-9908-DBEE67C10164}" dt="2022-02-15T08:38:42.320" v="1967" actId="20577"/>
          <ac:spMkLst>
            <pc:docMk/>
            <pc:sldMk cId="1959652402" sldId="464"/>
            <ac:spMk id="2" creationId="{C9DF8238-EEE4-4D16-82AB-C67DC2650547}"/>
          </ac:spMkLst>
        </pc:spChg>
        <pc:graphicFrameChg chg="mod">
          <ac:chgData name="Gintare Vitkauskaite" userId="fcee79df-4ed1-45d4-8c05-9b9f3354d122" providerId="ADAL" clId="{55D091DE-5B20-4531-9908-DBEE67C10164}" dt="2022-02-15T08:38:48.910" v="1988" actId="1035"/>
          <ac:graphicFrameMkLst>
            <pc:docMk/>
            <pc:sldMk cId="1959652402" sldId="464"/>
            <ac:graphicFrameMk id="5" creationId="{97846D81-74FF-458F-853F-6E676F9A879F}"/>
          </ac:graphicFrameMkLst>
        </pc:graphicFrameChg>
      </pc:sldChg>
      <pc:sldChg chg="modSp mod modNotesTx">
        <pc:chgData name="Gintare Vitkauskaite" userId="fcee79df-4ed1-45d4-8c05-9b9f3354d122" providerId="ADAL" clId="{55D091DE-5B20-4531-9908-DBEE67C10164}" dt="2022-02-15T06:23:28.838" v="324" actId="14100"/>
        <pc:sldMkLst>
          <pc:docMk/>
          <pc:sldMk cId="1153953872" sldId="465"/>
        </pc:sldMkLst>
        <pc:spChg chg="mod">
          <ac:chgData name="Gintare Vitkauskaite" userId="fcee79df-4ed1-45d4-8c05-9b9f3354d122" providerId="ADAL" clId="{55D091DE-5B20-4531-9908-DBEE67C10164}" dt="2022-02-14T16:49:26.037" v="227" actId="20577"/>
          <ac:spMkLst>
            <pc:docMk/>
            <pc:sldMk cId="1153953872" sldId="465"/>
            <ac:spMk id="8" creationId="{D4BA0322-774D-45E2-995A-B7FBA65EA31F}"/>
          </ac:spMkLst>
        </pc:spChg>
        <pc:spChg chg="mod">
          <ac:chgData name="Gintare Vitkauskaite" userId="fcee79df-4ed1-45d4-8c05-9b9f3354d122" providerId="ADAL" clId="{55D091DE-5B20-4531-9908-DBEE67C10164}" dt="2022-02-15T06:23:28.838" v="324" actId="14100"/>
          <ac:spMkLst>
            <pc:docMk/>
            <pc:sldMk cId="1153953872" sldId="465"/>
            <ac:spMk id="53" creationId="{A347CF0E-C2E2-44BD-81B2-6E6C77E718A9}"/>
          </ac:spMkLst>
        </pc:spChg>
        <pc:spChg chg="mod">
          <ac:chgData name="Gintare Vitkauskaite" userId="fcee79df-4ed1-45d4-8c05-9b9f3354d122" providerId="ADAL" clId="{55D091DE-5B20-4531-9908-DBEE67C10164}" dt="2022-02-14T16:40:33.739" v="199" actId="1036"/>
          <ac:spMkLst>
            <pc:docMk/>
            <pc:sldMk cId="1153953872" sldId="465"/>
            <ac:spMk id="60" creationId="{BCE3AAE7-D6B4-43D1-B29C-1016ADA97EB2}"/>
          </ac:spMkLst>
        </pc:spChg>
        <pc:spChg chg="mod">
          <ac:chgData name="Gintare Vitkauskaite" userId="fcee79df-4ed1-45d4-8c05-9b9f3354d122" providerId="ADAL" clId="{55D091DE-5B20-4531-9908-DBEE67C10164}" dt="2022-02-14T16:40:33.739" v="199" actId="1036"/>
          <ac:spMkLst>
            <pc:docMk/>
            <pc:sldMk cId="1153953872" sldId="465"/>
            <ac:spMk id="62" creationId="{AE0E76A9-A998-4725-8A2E-B6F1E5CD3A22}"/>
          </ac:spMkLst>
        </pc:spChg>
        <pc:spChg chg="mod">
          <ac:chgData name="Gintare Vitkauskaite" userId="fcee79df-4ed1-45d4-8c05-9b9f3354d122" providerId="ADAL" clId="{55D091DE-5B20-4531-9908-DBEE67C10164}" dt="2022-02-14T16:40:33.739" v="199" actId="1036"/>
          <ac:spMkLst>
            <pc:docMk/>
            <pc:sldMk cId="1153953872" sldId="465"/>
            <ac:spMk id="64" creationId="{4AF32163-B136-45B2-9975-AA50D434CED3}"/>
          </ac:spMkLst>
        </pc:spChg>
        <pc:spChg chg="mod">
          <ac:chgData name="Gintare Vitkauskaite" userId="fcee79df-4ed1-45d4-8c05-9b9f3354d122" providerId="ADAL" clId="{55D091DE-5B20-4531-9908-DBEE67C10164}" dt="2022-02-14T16:40:33.739" v="199" actId="1036"/>
          <ac:spMkLst>
            <pc:docMk/>
            <pc:sldMk cId="1153953872" sldId="465"/>
            <ac:spMk id="66" creationId="{FD1C34E6-C313-46D2-BA44-B8D6766162CA}"/>
          </ac:spMkLst>
        </pc:spChg>
        <pc:spChg chg="mod">
          <ac:chgData name="Gintare Vitkauskaite" userId="fcee79df-4ed1-45d4-8c05-9b9f3354d122" providerId="ADAL" clId="{55D091DE-5B20-4531-9908-DBEE67C10164}" dt="2022-02-14T16:40:33.739" v="199" actId="1036"/>
          <ac:spMkLst>
            <pc:docMk/>
            <pc:sldMk cId="1153953872" sldId="465"/>
            <ac:spMk id="68" creationId="{DC51C86B-4691-48DF-8125-FC5AA5B851D0}"/>
          </ac:spMkLst>
        </pc:spChg>
        <pc:spChg chg="mod">
          <ac:chgData name="Gintare Vitkauskaite" userId="fcee79df-4ed1-45d4-8c05-9b9f3354d122" providerId="ADAL" clId="{55D091DE-5B20-4531-9908-DBEE67C10164}" dt="2022-02-14T16:40:33.739" v="199" actId="1036"/>
          <ac:spMkLst>
            <pc:docMk/>
            <pc:sldMk cId="1153953872" sldId="465"/>
            <ac:spMk id="70" creationId="{FE0ED578-935C-4054-BC99-28C242DCB930}"/>
          </ac:spMkLst>
        </pc:spChg>
        <pc:spChg chg="mod">
          <ac:chgData name="Gintare Vitkauskaite" userId="fcee79df-4ed1-45d4-8c05-9b9f3354d122" providerId="ADAL" clId="{55D091DE-5B20-4531-9908-DBEE67C10164}" dt="2022-02-14T16:40:33.739" v="199" actId="1036"/>
          <ac:spMkLst>
            <pc:docMk/>
            <pc:sldMk cId="1153953872" sldId="465"/>
            <ac:spMk id="72" creationId="{4FEE95EE-976C-42C6-A9A7-26ECEE6DCBFD}"/>
          </ac:spMkLst>
        </pc:spChg>
        <pc:spChg chg="mod">
          <ac:chgData name="Gintare Vitkauskaite" userId="fcee79df-4ed1-45d4-8c05-9b9f3354d122" providerId="ADAL" clId="{55D091DE-5B20-4531-9908-DBEE67C10164}" dt="2022-02-14T16:40:33.739" v="199" actId="1036"/>
          <ac:spMkLst>
            <pc:docMk/>
            <pc:sldMk cId="1153953872" sldId="465"/>
            <ac:spMk id="74" creationId="{6BA1FD68-7BC3-4236-A28F-1942BBE36A92}"/>
          </ac:spMkLst>
        </pc:spChg>
      </pc:sldChg>
      <pc:sldChg chg="modSp mod modNotesTx">
        <pc:chgData name="Gintare Vitkauskaite" userId="fcee79df-4ed1-45d4-8c05-9b9f3354d122" providerId="ADAL" clId="{55D091DE-5B20-4531-9908-DBEE67C10164}" dt="2022-02-15T06:30:25.688" v="366" actId="20577"/>
        <pc:sldMkLst>
          <pc:docMk/>
          <pc:sldMk cId="193828604" sldId="466"/>
        </pc:sldMkLst>
        <pc:spChg chg="mod">
          <ac:chgData name="Gintare Vitkauskaite" userId="fcee79df-4ed1-45d4-8c05-9b9f3354d122" providerId="ADAL" clId="{55D091DE-5B20-4531-9908-DBEE67C10164}" dt="2022-02-14T16:49:52.274" v="231"/>
          <ac:spMkLst>
            <pc:docMk/>
            <pc:sldMk cId="193828604" sldId="466"/>
            <ac:spMk id="8" creationId="{D4BA0322-774D-45E2-995A-B7FBA65EA31F}"/>
          </ac:spMkLst>
        </pc:spChg>
        <pc:spChg chg="mod">
          <ac:chgData name="Gintare Vitkauskaite" userId="fcee79df-4ed1-45d4-8c05-9b9f3354d122" providerId="ADAL" clId="{55D091DE-5B20-4531-9908-DBEE67C10164}" dt="2022-02-15T06:30:25.688" v="366" actId="20577"/>
          <ac:spMkLst>
            <pc:docMk/>
            <pc:sldMk cId="193828604" sldId="466"/>
            <ac:spMk id="17" creationId="{5325A1A7-0F0C-44F3-8DFD-586133FCFBC2}"/>
          </ac:spMkLst>
        </pc:spChg>
      </pc:sldChg>
      <pc:sldChg chg="modSp mod modNotesTx">
        <pc:chgData name="Gintare Vitkauskaite" userId="fcee79df-4ed1-45d4-8c05-9b9f3354d122" providerId="ADAL" clId="{55D091DE-5B20-4531-9908-DBEE67C10164}" dt="2022-02-15T07:44:43.812" v="938" actId="1035"/>
        <pc:sldMkLst>
          <pc:docMk/>
          <pc:sldMk cId="968355729" sldId="467"/>
        </pc:sldMkLst>
        <pc:spChg chg="mod">
          <ac:chgData name="Gintare Vitkauskaite" userId="fcee79df-4ed1-45d4-8c05-9b9f3354d122" providerId="ADAL" clId="{55D091DE-5B20-4531-9908-DBEE67C10164}" dt="2022-02-15T06:30:56.697" v="392" actId="20577"/>
          <ac:spMkLst>
            <pc:docMk/>
            <pc:sldMk cId="968355729" sldId="467"/>
            <ac:spMk id="8" creationId="{D4BA0322-774D-45E2-995A-B7FBA65EA31F}"/>
          </ac:spMkLst>
        </pc:spChg>
        <pc:spChg chg="mod">
          <ac:chgData name="Gintare Vitkauskaite" userId="fcee79df-4ed1-45d4-8c05-9b9f3354d122" providerId="ADAL" clId="{55D091DE-5B20-4531-9908-DBEE67C10164}" dt="2022-02-15T07:44:37.852" v="933" actId="1035"/>
          <ac:spMkLst>
            <pc:docMk/>
            <pc:sldMk cId="968355729" sldId="467"/>
            <ac:spMk id="38" creationId="{787DCCBB-04AD-45F3-814A-F0BE45E2CFE9}"/>
          </ac:spMkLst>
        </pc:spChg>
        <pc:spChg chg="mod">
          <ac:chgData name="Gintare Vitkauskaite" userId="fcee79df-4ed1-45d4-8c05-9b9f3354d122" providerId="ADAL" clId="{55D091DE-5B20-4531-9908-DBEE67C10164}" dt="2022-02-15T06:47:44.251" v="398" actId="20577"/>
          <ac:spMkLst>
            <pc:docMk/>
            <pc:sldMk cId="968355729" sldId="467"/>
            <ac:spMk id="40" creationId="{DD3E6B97-7117-4711-844A-EB2B78B3936F}"/>
          </ac:spMkLst>
        </pc:spChg>
        <pc:spChg chg="mod">
          <ac:chgData name="Gintare Vitkauskaite" userId="fcee79df-4ed1-45d4-8c05-9b9f3354d122" providerId="ADAL" clId="{55D091DE-5B20-4531-9908-DBEE67C10164}" dt="2022-02-15T07:44:37.852" v="933" actId="1035"/>
          <ac:spMkLst>
            <pc:docMk/>
            <pc:sldMk cId="968355729" sldId="467"/>
            <ac:spMk id="43" creationId="{42534A37-6FDA-4141-B1DC-09AE9F573FA9}"/>
          </ac:spMkLst>
        </pc:spChg>
        <pc:spChg chg="mod">
          <ac:chgData name="Gintare Vitkauskaite" userId="fcee79df-4ed1-45d4-8c05-9b9f3354d122" providerId="ADAL" clId="{55D091DE-5B20-4531-9908-DBEE67C10164}" dt="2022-02-15T07:44:43.812" v="938" actId="1035"/>
          <ac:spMkLst>
            <pc:docMk/>
            <pc:sldMk cId="968355729" sldId="467"/>
            <ac:spMk id="53" creationId="{A347CF0E-C2E2-44BD-81B2-6E6C77E718A9}"/>
          </ac:spMkLst>
        </pc:spChg>
        <pc:spChg chg="mod">
          <ac:chgData name="Gintare Vitkauskaite" userId="fcee79df-4ed1-45d4-8c05-9b9f3354d122" providerId="ADAL" clId="{55D091DE-5B20-4531-9908-DBEE67C10164}" dt="2022-02-15T07:36:45.747" v="883" actId="1036"/>
          <ac:spMkLst>
            <pc:docMk/>
            <pc:sldMk cId="968355729" sldId="467"/>
            <ac:spMk id="56" creationId="{99A6280F-9012-4AE6-831B-39CCCB519AE5}"/>
          </ac:spMkLst>
        </pc:spChg>
        <pc:spChg chg="mod">
          <ac:chgData name="Gintare Vitkauskaite" userId="fcee79df-4ed1-45d4-8c05-9b9f3354d122" providerId="ADAL" clId="{55D091DE-5B20-4531-9908-DBEE67C10164}" dt="2022-02-15T06:32:43.916" v="397" actId="20577"/>
          <ac:spMkLst>
            <pc:docMk/>
            <pc:sldMk cId="968355729" sldId="467"/>
            <ac:spMk id="64" creationId="{4AF32163-B136-45B2-9975-AA50D434CED3}"/>
          </ac:spMkLst>
        </pc:spChg>
        <pc:spChg chg="mod">
          <ac:chgData name="Gintare Vitkauskaite" userId="fcee79df-4ed1-45d4-8c05-9b9f3354d122" providerId="ADAL" clId="{55D091DE-5B20-4531-9908-DBEE67C10164}" dt="2022-02-15T06:32:28.356" v="396" actId="20577"/>
          <ac:spMkLst>
            <pc:docMk/>
            <pc:sldMk cId="968355729" sldId="467"/>
            <ac:spMk id="74" creationId="{6BA1FD68-7BC3-4236-A28F-1942BBE36A92}"/>
          </ac:spMkLst>
        </pc:spChg>
        <pc:grpChg chg="mod">
          <ac:chgData name="Gintare Vitkauskaite" userId="fcee79df-4ed1-45d4-8c05-9b9f3354d122" providerId="ADAL" clId="{55D091DE-5B20-4531-9908-DBEE67C10164}" dt="2022-02-15T07:44:37.852" v="933" actId="1035"/>
          <ac:grpSpMkLst>
            <pc:docMk/>
            <pc:sldMk cId="968355729" sldId="467"/>
            <ac:grpSpMk id="21" creationId="{E22705AF-C88B-4341-A23B-831D8B0F2B62}"/>
          </ac:grpSpMkLst>
        </pc:grpChg>
        <pc:grpChg chg="mod">
          <ac:chgData name="Gintare Vitkauskaite" userId="fcee79df-4ed1-45d4-8c05-9b9f3354d122" providerId="ADAL" clId="{55D091DE-5B20-4531-9908-DBEE67C10164}" dt="2022-02-15T07:44:37.852" v="933" actId="1035"/>
          <ac:grpSpMkLst>
            <pc:docMk/>
            <pc:sldMk cId="968355729" sldId="467"/>
            <ac:grpSpMk id="46" creationId="{4313B0BC-DEAF-4320-BB35-EE66F54326B0}"/>
          </ac:grpSpMkLst>
        </pc:grpChg>
        <pc:grpChg chg="mod">
          <ac:chgData name="Gintare Vitkauskaite" userId="fcee79df-4ed1-45d4-8c05-9b9f3354d122" providerId="ADAL" clId="{55D091DE-5B20-4531-9908-DBEE67C10164}" dt="2022-02-15T07:44:37.852" v="933" actId="1035"/>
          <ac:grpSpMkLst>
            <pc:docMk/>
            <pc:sldMk cId="968355729" sldId="467"/>
            <ac:grpSpMk id="48" creationId="{FF07D1DB-06B9-42B6-A2A8-A9D217BA3C3B}"/>
          </ac:grpSpMkLst>
        </pc:grpChg>
        <pc:grpChg chg="mod">
          <ac:chgData name="Gintare Vitkauskaite" userId="fcee79df-4ed1-45d4-8c05-9b9f3354d122" providerId="ADAL" clId="{55D091DE-5B20-4531-9908-DBEE67C10164}" dt="2022-02-15T07:44:37.852" v="933" actId="1035"/>
          <ac:grpSpMkLst>
            <pc:docMk/>
            <pc:sldMk cId="968355729" sldId="467"/>
            <ac:grpSpMk id="49" creationId="{84DF5076-1DA5-4282-925D-B07553CA42E4}"/>
          </ac:grpSpMkLst>
        </pc:grpChg>
      </pc:sldChg>
      <pc:sldChg chg="modSp mod modNotesTx">
        <pc:chgData name="Gintare Vitkauskaite" userId="fcee79df-4ed1-45d4-8c05-9b9f3354d122" providerId="ADAL" clId="{55D091DE-5B20-4531-9908-DBEE67C10164}" dt="2022-02-15T07:44:23.564" v="924" actId="20577"/>
        <pc:sldMkLst>
          <pc:docMk/>
          <pc:sldMk cId="3400783739" sldId="468"/>
        </pc:sldMkLst>
        <pc:spChg chg="mod">
          <ac:chgData name="Gintare Vitkauskaite" userId="fcee79df-4ed1-45d4-8c05-9b9f3354d122" providerId="ADAL" clId="{55D091DE-5B20-4531-9908-DBEE67C10164}" dt="2022-02-15T07:37:28.328" v="919" actId="20577"/>
          <ac:spMkLst>
            <pc:docMk/>
            <pc:sldMk cId="3400783739" sldId="468"/>
            <ac:spMk id="8" creationId="{D4BA0322-774D-45E2-995A-B7FBA65EA31F}"/>
          </ac:spMkLst>
        </pc:spChg>
        <pc:spChg chg="mod">
          <ac:chgData name="Gintare Vitkauskaite" userId="fcee79df-4ed1-45d4-8c05-9b9f3354d122" providerId="ADAL" clId="{55D091DE-5B20-4531-9908-DBEE67C10164}" dt="2022-02-15T07:44:23.564" v="924" actId="20577"/>
          <ac:spMkLst>
            <pc:docMk/>
            <pc:sldMk cId="3400783739" sldId="468"/>
            <ac:spMk id="28" creationId="{8D157A12-84EA-394F-8B5B-2F8EAB396662}"/>
          </ac:spMkLst>
        </pc:spChg>
      </pc:sldChg>
      <pc:sldChg chg="addSp delSp modSp new mod">
        <pc:chgData name="Gintare Vitkauskaite" userId="fcee79df-4ed1-45d4-8c05-9b9f3354d122" providerId="ADAL" clId="{55D091DE-5B20-4531-9908-DBEE67C10164}" dt="2022-02-15T10:05:22.410" v="3984" actId="21"/>
        <pc:sldMkLst>
          <pc:docMk/>
          <pc:sldMk cId="629532925" sldId="469"/>
        </pc:sldMkLst>
        <pc:spChg chg="mod">
          <ac:chgData name="Gintare Vitkauskaite" userId="fcee79df-4ed1-45d4-8c05-9b9f3354d122" providerId="ADAL" clId="{55D091DE-5B20-4531-9908-DBEE67C10164}" dt="2022-02-15T10:03:46.732" v="3902" actId="20577"/>
          <ac:spMkLst>
            <pc:docMk/>
            <pc:sldMk cId="629532925" sldId="469"/>
            <ac:spMk id="2" creationId="{2615DC01-798D-402B-A2E3-D5BC7063749E}"/>
          </ac:spMkLst>
        </pc:spChg>
        <pc:spChg chg="del">
          <ac:chgData name="Gintare Vitkauskaite" userId="fcee79df-4ed1-45d4-8c05-9b9f3354d122" providerId="ADAL" clId="{55D091DE-5B20-4531-9908-DBEE67C10164}" dt="2022-02-15T09:30:34.968" v="3418" actId="478"/>
          <ac:spMkLst>
            <pc:docMk/>
            <pc:sldMk cId="629532925" sldId="469"/>
            <ac:spMk id="3" creationId="{D8C3CB56-0F73-4A7B-9105-9C9219927A16}"/>
          </ac:spMkLst>
        </pc:spChg>
        <pc:spChg chg="add mod">
          <ac:chgData name="Gintare Vitkauskaite" userId="fcee79df-4ed1-45d4-8c05-9b9f3354d122" providerId="ADAL" clId="{55D091DE-5B20-4531-9908-DBEE67C10164}" dt="2022-02-15T10:05:01.377" v="3948" actId="1036"/>
          <ac:spMkLst>
            <pc:docMk/>
            <pc:sldMk cId="629532925" sldId="469"/>
            <ac:spMk id="4" creationId="{C7369088-8C9B-4B75-AEDD-98F46AD92C7F}"/>
          </ac:spMkLst>
        </pc:spChg>
        <pc:spChg chg="add mod">
          <ac:chgData name="Gintare Vitkauskaite" userId="fcee79df-4ed1-45d4-8c05-9b9f3354d122" providerId="ADAL" clId="{55D091DE-5B20-4531-9908-DBEE67C10164}" dt="2022-02-15T10:05:01.377" v="3948" actId="1036"/>
          <ac:spMkLst>
            <pc:docMk/>
            <pc:sldMk cId="629532925" sldId="469"/>
            <ac:spMk id="5" creationId="{893B277B-12AE-4BA8-856F-DB500CFDA6D3}"/>
          </ac:spMkLst>
        </pc:spChg>
        <pc:spChg chg="add mod">
          <ac:chgData name="Gintare Vitkauskaite" userId="fcee79df-4ed1-45d4-8c05-9b9f3354d122" providerId="ADAL" clId="{55D091DE-5B20-4531-9908-DBEE67C10164}" dt="2022-02-15T10:05:01.377" v="3948" actId="1036"/>
          <ac:spMkLst>
            <pc:docMk/>
            <pc:sldMk cId="629532925" sldId="469"/>
            <ac:spMk id="6" creationId="{503EA29B-690F-4CD7-8A66-8361C671F35A}"/>
          </ac:spMkLst>
        </pc:spChg>
        <pc:spChg chg="add mod">
          <ac:chgData name="Gintare Vitkauskaite" userId="fcee79df-4ed1-45d4-8c05-9b9f3354d122" providerId="ADAL" clId="{55D091DE-5B20-4531-9908-DBEE67C10164}" dt="2022-02-15T10:05:01.377" v="3948" actId="1036"/>
          <ac:spMkLst>
            <pc:docMk/>
            <pc:sldMk cId="629532925" sldId="469"/>
            <ac:spMk id="7" creationId="{826BF093-AB05-4D26-B3D8-C9E9282BAF0F}"/>
          </ac:spMkLst>
        </pc:spChg>
        <pc:spChg chg="add mod">
          <ac:chgData name="Gintare Vitkauskaite" userId="fcee79df-4ed1-45d4-8c05-9b9f3354d122" providerId="ADAL" clId="{55D091DE-5B20-4531-9908-DBEE67C10164}" dt="2022-02-15T10:05:01.377" v="3948" actId="1036"/>
          <ac:spMkLst>
            <pc:docMk/>
            <pc:sldMk cId="629532925" sldId="469"/>
            <ac:spMk id="8" creationId="{CC25A4F4-111C-471E-8ABB-CC3496A5A222}"/>
          </ac:spMkLst>
        </pc:spChg>
        <pc:spChg chg="add mod">
          <ac:chgData name="Gintare Vitkauskaite" userId="fcee79df-4ed1-45d4-8c05-9b9f3354d122" providerId="ADAL" clId="{55D091DE-5B20-4531-9908-DBEE67C10164}" dt="2022-02-15T10:05:01.377" v="3948" actId="1036"/>
          <ac:spMkLst>
            <pc:docMk/>
            <pc:sldMk cId="629532925" sldId="469"/>
            <ac:spMk id="9" creationId="{6B487873-199A-4A7E-90C9-846BFF217519}"/>
          </ac:spMkLst>
        </pc:spChg>
        <pc:spChg chg="add mod">
          <ac:chgData name="Gintare Vitkauskaite" userId="fcee79df-4ed1-45d4-8c05-9b9f3354d122" providerId="ADAL" clId="{55D091DE-5B20-4531-9908-DBEE67C10164}" dt="2022-02-15T10:05:01.377" v="3948" actId="1036"/>
          <ac:spMkLst>
            <pc:docMk/>
            <pc:sldMk cId="629532925" sldId="469"/>
            <ac:spMk id="10" creationId="{9B837D8C-0805-47DB-821B-BB4983CF3A5B}"/>
          </ac:spMkLst>
        </pc:spChg>
        <pc:spChg chg="add mod">
          <ac:chgData name="Gintare Vitkauskaite" userId="fcee79df-4ed1-45d4-8c05-9b9f3354d122" providerId="ADAL" clId="{55D091DE-5B20-4531-9908-DBEE67C10164}" dt="2022-02-15T10:05:01.377" v="3948" actId="1036"/>
          <ac:spMkLst>
            <pc:docMk/>
            <pc:sldMk cId="629532925" sldId="469"/>
            <ac:spMk id="11" creationId="{74300AA2-0AAB-4B72-8517-140C5EFE4D62}"/>
          </ac:spMkLst>
        </pc:spChg>
        <pc:spChg chg="add mod">
          <ac:chgData name="Gintare Vitkauskaite" userId="fcee79df-4ed1-45d4-8c05-9b9f3354d122" providerId="ADAL" clId="{55D091DE-5B20-4531-9908-DBEE67C10164}" dt="2022-02-15T10:05:01.377" v="3948" actId="1036"/>
          <ac:spMkLst>
            <pc:docMk/>
            <pc:sldMk cId="629532925" sldId="469"/>
            <ac:spMk id="12" creationId="{FE29003E-E9AE-40CC-9320-C35C45AB4547}"/>
          </ac:spMkLst>
        </pc:spChg>
        <pc:spChg chg="add mod">
          <ac:chgData name="Gintare Vitkauskaite" userId="fcee79df-4ed1-45d4-8c05-9b9f3354d122" providerId="ADAL" clId="{55D091DE-5B20-4531-9908-DBEE67C10164}" dt="2022-02-15T10:05:01.377" v="3948" actId="1036"/>
          <ac:spMkLst>
            <pc:docMk/>
            <pc:sldMk cId="629532925" sldId="469"/>
            <ac:spMk id="13" creationId="{B873A06A-4D1B-4F1A-99CA-463EC4E07D83}"/>
          </ac:spMkLst>
        </pc:spChg>
        <pc:spChg chg="add del mod">
          <ac:chgData name="Gintare Vitkauskaite" userId="fcee79df-4ed1-45d4-8c05-9b9f3354d122" providerId="ADAL" clId="{55D091DE-5B20-4531-9908-DBEE67C10164}" dt="2022-02-15T10:05:22.410" v="3984" actId="21"/>
          <ac:spMkLst>
            <pc:docMk/>
            <pc:sldMk cId="629532925" sldId="469"/>
            <ac:spMk id="14" creationId="{579E0ADB-F13D-40B0-B5F1-ED70FB7E510A}"/>
          </ac:spMkLst>
        </pc:spChg>
        <pc:spChg chg="add del mod">
          <ac:chgData name="Gintare Vitkauskaite" userId="fcee79df-4ed1-45d4-8c05-9b9f3354d122" providerId="ADAL" clId="{55D091DE-5B20-4531-9908-DBEE67C10164}" dt="2022-02-15T10:05:22.410" v="3984" actId="21"/>
          <ac:spMkLst>
            <pc:docMk/>
            <pc:sldMk cId="629532925" sldId="469"/>
            <ac:spMk id="15" creationId="{252ED045-1CE1-4E07-B703-C6ADF5B28A56}"/>
          </ac:spMkLst>
        </pc:spChg>
      </pc:sldChg>
      <pc:sldChg chg="addSp delSp modSp add mod">
        <pc:chgData name="Gintare Vitkauskaite" userId="fcee79df-4ed1-45d4-8c05-9b9f3354d122" providerId="ADAL" clId="{55D091DE-5B20-4531-9908-DBEE67C10164}" dt="2022-02-15T09:23:19.748" v="3098" actId="20577"/>
        <pc:sldMkLst>
          <pc:docMk/>
          <pc:sldMk cId="780515129" sldId="470"/>
        </pc:sldMkLst>
        <pc:spChg chg="mod">
          <ac:chgData name="Gintare Vitkauskaite" userId="fcee79df-4ed1-45d4-8c05-9b9f3354d122" providerId="ADAL" clId="{55D091DE-5B20-4531-9908-DBEE67C10164}" dt="2022-02-15T09:20:42.191" v="2885" actId="1076"/>
          <ac:spMkLst>
            <pc:docMk/>
            <pc:sldMk cId="780515129" sldId="470"/>
            <ac:spMk id="2" creationId="{E350CF06-F67F-46A1-A04D-A878CEED134A}"/>
          </ac:spMkLst>
        </pc:spChg>
        <pc:spChg chg="del">
          <ac:chgData name="Gintare Vitkauskaite" userId="fcee79df-4ed1-45d4-8c05-9b9f3354d122" providerId="ADAL" clId="{55D091DE-5B20-4531-9908-DBEE67C10164}" dt="2022-02-15T09:20:39.423" v="2883" actId="478"/>
          <ac:spMkLst>
            <pc:docMk/>
            <pc:sldMk cId="780515129" sldId="470"/>
            <ac:spMk id="12" creationId="{2A476A9C-E995-480E-8E94-35DA286ECA22}"/>
          </ac:spMkLst>
        </pc:spChg>
        <pc:spChg chg="del">
          <ac:chgData name="Gintare Vitkauskaite" userId="fcee79df-4ed1-45d4-8c05-9b9f3354d122" providerId="ADAL" clId="{55D091DE-5B20-4531-9908-DBEE67C10164}" dt="2022-02-15T09:20:39.423" v="2883" actId="478"/>
          <ac:spMkLst>
            <pc:docMk/>
            <pc:sldMk cId="780515129" sldId="470"/>
            <ac:spMk id="18" creationId="{486AEF5D-30F6-4F3A-9A0F-56A8CF84CCF5}"/>
          </ac:spMkLst>
        </pc:spChg>
        <pc:spChg chg="add mod">
          <ac:chgData name="Gintare Vitkauskaite" userId="fcee79df-4ed1-45d4-8c05-9b9f3354d122" providerId="ADAL" clId="{55D091DE-5B20-4531-9908-DBEE67C10164}" dt="2022-02-15T09:23:19.748" v="3098" actId="20577"/>
          <ac:spMkLst>
            <pc:docMk/>
            <pc:sldMk cId="780515129" sldId="470"/>
            <ac:spMk id="19" creationId="{2D5B3C6D-4E10-465E-97FC-EB7ED4DE4654}"/>
          </ac:spMkLst>
        </pc:spChg>
        <pc:spChg chg="add mod">
          <ac:chgData name="Gintare Vitkauskaite" userId="fcee79df-4ed1-45d4-8c05-9b9f3354d122" providerId="ADAL" clId="{55D091DE-5B20-4531-9908-DBEE67C10164}" dt="2022-02-15T09:22:35.594" v="3071"/>
          <ac:spMkLst>
            <pc:docMk/>
            <pc:sldMk cId="780515129" sldId="470"/>
            <ac:spMk id="20" creationId="{5C14718E-41A6-43AF-9499-70804CB71BF5}"/>
          </ac:spMkLst>
        </pc:spChg>
        <pc:spChg chg="mod">
          <ac:chgData name="Gintare Vitkauskaite" userId="fcee79df-4ed1-45d4-8c05-9b9f3354d122" providerId="ADAL" clId="{55D091DE-5B20-4531-9908-DBEE67C10164}" dt="2022-02-15T09:22:06.386" v="2988"/>
          <ac:spMkLst>
            <pc:docMk/>
            <pc:sldMk cId="780515129" sldId="470"/>
            <ac:spMk id="22" creationId="{491CF551-09C6-4401-9B11-1BD81513AFA0}"/>
          </ac:spMkLst>
        </pc:spChg>
        <pc:spChg chg="mod">
          <ac:chgData name="Gintare Vitkauskaite" userId="fcee79df-4ed1-45d4-8c05-9b9f3354d122" providerId="ADAL" clId="{55D091DE-5B20-4531-9908-DBEE67C10164}" dt="2022-02-15T09:22:22.651" v="3068" actId="20577"/>
          <ac:spMkLst>
            <pc:docMk/>
            <pc:sldMk cId="780515129" sldId="470"/>
            <ac:spMk id="23" creationId="{5DD38FC6-86E1-4BB3-B70A-68F6376C3197}"/>
          </ac:spMkLst>
        </pc:spChg>
        <pc:spChg chg="del">
          <ac:chgData name="Gintare Vitkauskaite" userId="fcee79df-4ed1-45d4-8c05-9b9f3354d122" providerId="ADAL" clId="{55D091DE-5B20-4531-9908-DBEE67C10164}" dt="2022-02-15T09:20:39.423" v="2883" actId="478"/>
          <ac:spMkLst>
            <pc:docMk/>
            <pc:sldMk cId="780515129" sldId="470"/>
            <ac:spMk id="33" creationId="{CB6C5C18-549F-4AB1-ABC9-FEE125152494}"/>
          </ac:spMkLst>
        </pc:spChg>
        <pc:spChg chg="del">
          <ac:chgData name="Gintare Vitkauskaite" userId="fcee79df-4ed1-45d4-8c05-9b9f3354d122" providerId="ADAL" clId="{55D091DE-5B20-4531-9908-DBEE67C10164}" dt="2022-02-15T09:20:39.423" v="2883" actId="478"/>
          <ac:spMkLst>
            <pc:docMk/>
            <pc:sldMk cId="780515129" sldId="470"/>
            <ac:spMk id="37" creationId="{C74B8469-6B4D-40AE-9FF8-E931DEDE5EFF}"/>
          </ac:spMkLst>
        </pc:spChg>
        <pc:spChg chg="mod">
          <ac:chgData name="Gintare Vitkauskaite" userId="fcee79df-4ed1-45d4-8c05-9b9f3354d122" providerId="ADAL" clId="{55D091DE-5B20-4531-9908-DBEE67C10164}" dt="2022-02-15T09:22:00.699" v="2987"/>
          <ac:spMkLst>
            <pc:docMk/>
            <pc:sldMk cId="780515129" sldId="470"/>
            <ac:spMk id="39" creationId="{E4B6382C-1478-43D6-921B-96F2A843BB7A}"/>
          </ac:spMkLst>
        </pc:spChg>
        <pc:spChg chg="mod">
          <ac:chgData name="Gintare Vitkauskaite" userId="fcee79df-4ed1-45d4-8c05-9b9f3354d122" providerId="ADAL" clId="{55D091DE-5B20-4531-9908-DBEE67C10164}" dt="2022-02-15T09:21:45.606" v="2984"/>
          <ac:spMkLst>
            <pc:docMk/>
            <pc:sldMk cId="780515129" sldId="470"/>
            <ac:spMk id="43" creationId="{57F6E1ED-4727-40EC-8887-86E88EE89ECE}"/>
          </ac:spMkLst>
        </pc:spChg>
        <pc:grpChg chg="del">
          <ac:chgData name="Gintare Vitkauskaite" userId="fcee79df-4ed1-45d4-8c05-9b9f3354d122" providerId="ADAL" clId="{55D091DE-5B20-4531-9908-DBEE67C10164}" dt="2022-02-15T09:20:39.423" v="2883" actId="478"/>
          <ac:grpSpMkLst>
            <pc:docMk/>
            <pc:sldMk cId="780515129" sldId="470"/>
            <ac:grpSpMk id="13" creationId="{6FF6DCE5-6046-40BF-B824-72ECC9EF7F29}"/>
          </ac:grpSpMkLst>
        </pc:grpChg>
        <pc:grpChg chg="add mod">
          <ac:chgData name="Gintare Vitkauskaite" userId="fcee79df-4ed1-45d4-8c05-9b9f3354d122" providerId="ADAL" clId="{55D091DE-5B20-4531-9908-DBEE67C10164}" dt="2022-02-15T09:22:17.453" v="3067" actId="1038"/>
          <ac:grpSpMkLst>
            <pc:docMk/>
            <pc:sldMk cId="780515129" sldId="470"/>
            <ac:grpSpMk id="21" creationId="{F28EAC95-F054-4B80-9EDD-D7DDC735EB9C}"/>
          </ac:grpSpMkLst>
        </pc:grpChg>
        <pc:grpChg chg="del">
          <ac:chgData name="Gintare Vitkauskaite" userId="fcee79df-4ed1-45d4-8c05-9b9f3354d122" providerId="ADAL" clId="{55D091DE-5B20-4531-9908-DBEE67C10164}" dt="2022-02-15T09:20:39.423" v="2883" actId="478"/>
          <ac:grpSpMkLst>
            <pc:docMk/>
            <pc:sldMk cId="780515129" sldId="470"/>
            <ac:grpSpMk id="34" creationId="{D609BA43-417E-4757-B706-DD3ACEFBF4BE}"/>
          </ac:grpSpMkLst>
        </pc:grpChg>
        <pc:grpChg chg="mod">
          <ac:chgData name="Gintare Vitkauskaite" userId="fcee79df-4ed1-45d4-8c05-9b9f3354d122" providerId="ADAL" clId="{55D091DE-5B20-4531-9908-DBEE67C10164}" dt="2022-02-15T09:21:19.139" v="2981" actId="1038"/>
          <ac:grpSpMkLst>
            <pc:docMk/>
            <pc:sldMk cId="780515129" sldId="470"/>
            <ac:grpSpMk id="40" creationId="{6529504E-9565-42F1-A711-5404468FA1B7}"/>
          </ac:grpSpMkLst>
        </pc:grpChg>
      </pc:sldChg>
      <pc:sldChg chg="addSp delSp modSp add mod">
        <pc:chgData name="Gintare Vitkauskaite" userId="fcee79df-4ed1-45d4-8c05-9b9f3354d122" providerId="ADAL" clId="{55D091DE-5B20-4531-9908-DBEE67C10164}" dt="2022-02-15T10:06:21.969" v="4165" actId="465"/>
        <pc:sldMkLst>
          <pc:docMk/>
          <pc:sldMk cId="2787497346" sldId="471"/>
        </pc:sldMkLst>
        <pc:spChg chg="mod">
          <ac:chgData name="Gintare Vitkauskaite" userId="fcee79df-4ed1-45d4-8c05-9b9f3354d122" providerId="ADAL" clId="{55D091DE-5B20-4531-9908-DBEE67C10164}" dt="2022-02-15T10:04:00.389" v="3911" actId="20577"/>
          <ac:spMkLst>
            <pc:docMk/>
            <pc:sldMk cId="2787497346" sldId="471"/>
            <ac:spMk id="2" creationId="{2615DC01-798D-402B-A2E3-D5BC7063749E}"/>
          </ac:spMkLst>
        </pc:spChg>
        <pc:spChg chg="mod">
          <ac:chgData name="Gintare Vitkauskaite" userId="fcee79df-4ed1-45d4-8c05-9b9f3354d122" providerId="ADAL" clId="{55D091DE-5B20-4531-9908-DBEE67C10164}" dt="2022-02-15T10:06:21.969" v="4165" actId="465"/>
          <ac:spMkLst>
            <pc:docMk/>
            <pc:sldMk cId="2787497346" sldId="471"/>
            <ac:spMk id="4" creationId="{C7369088-8C9B-4B75-AEDD-98F46AD92C7F}"/>
          </ac:spMkLst>
        </pc:spChg>
        <pc:spChg chg="mod">
          <ac:chgData name="Gintare Vitkauskaite" userId="fcee79df-4ed1-45d4-8c05-9b9f3354d122" providerId="ADAL" clId="{55D091DE-5B20-4531-9908-DBEE67C10164}" dt="2022-02-15T10:06:13.909" v="4164" actId="465"/>
          <ac:spMkLst>
            <pc:docMk/>
            <pc:sldMk cId="2787497346" sldId="471"/>
            <ac:spMk id="5" creationId="{893B277B-12AE-4BA8-856F-DB500CFDA6D3}"/>
          </ac:spMkLst>
        </pc:spChg>
        <pc:spChg chg="mod">
          <ac:chgData name="Gintare Vitkauskaite" userId="fcee79df-4ed1-45d4-8c05-9b9f3354d122" providerId="ADAL" clId="{55D091DE-5B20-4531-9908-DBEE67C10164}" dt="2022-02-15T10:06:21.969" v="4165" actId="465"/>
          <ac:spMkLst>
            <pc:docMk/>
            <pc:sldMk cId="2787497346" sldId="471"/>
            <ac:spMk id="6" creationId="{503EA29B-690F-4CD7-8A66-8361C671F35A}"/>
          </ac:spMkLst>
        </pc:spChg>
        <pc:spChg chg="mod">
          <ac:chgData name="Gintare Vitkauskaite" userId="fcee79df-4ed1-45d4-8c05-9b9f3354d122" providerId="ADAL" clId="{55D091DE-5B20-4531-9908-DBEE67C10164}" dt="2022-02-15T10:06:13.909" v="4164" actId="465"/>
          <ac:spMkLst>
            <pc:docMk/>
            <pc:sldMk cId="2787497346" sldId="471"/>
            <ac:spMk id="7" creationId="{826BF093-AB05-4D26-B3D8-C9E9282BAF0F}"/>
          </ac:spMkLst>
        </pc:spChg>
        <pc:spChg chg="mod">
          <ac:chgData name="Gintare Vitkauskaite" userId="fcee79df-4ed1-45d4-8c05-9b9f3354d122" providerId="ADAL" clId="{55D091DE-5B20-4531-9908-DBEE67C10164}" dt="2022-02-15T10:06:21.969" v="4165" actId="465"/>
          <ac:spMkLst>
            <pc:docMk/>
            <pc:sldMk cId="2787497346" sldId="471"/>
            <ac:spMk id="8" creationId="{CC25A4F4-111C-471E-8ABB-CC3496A5A222}"/>
          </ac:spMkLst>
        </pc:spChg>
        <pc:spChg chg="mod">
          <ac:chgData name="Gintare Vitkauskaite" userId="fcee79df-4ed1-45d4-8c05-9b9f3354d122" providerId="ADAL" clId="{55D091DE-5B20-4531-9908-DBEE67C10164}" dt="2022-02-15T10:06:13.909" v="4164" actId="465"/>
          <ac:spMkLst>
            <pc:docMk/>
            <pc:sldMk cId="2787497346" sldId="471"/>
            <ac:spMk id="9" creationId="{6B487873-199A-4A7E-90C9-846BFF217519}"/>
          </ac:spMkLst>
        </pc:spChg>
        <pc:spChg chg="mod">
          <ac:chgData name="Gintare Vitkauskaite" userId="fcee79df-4ed1-45d4-8c05-9b9f3354d122" providerId="ADAL" clId="{55D091DE-5B20-4531-9908-DBEE67C10164}" dt="2022-02-15T10:05:42.769" v="4072" actId="552"/>
          <ac:spMkLst>
            <pc:docMk/>
            <pc:sldMk cId="2787497346" sldId="471"/>
            <ac:spMk id="10" creationId="{9B837D8C-0805-47DB-821B-BB4983CF3A5B}"/>
          </ac:spMkLst>
        </pc:spChg>
        <pc:spChg chg="mod">
          <ac:chgData name="Gintare Vitkauskaite" userId="fcee79df-4ed1-45d4-8c05-9b9f3354d122" providerId="ADAL" clId="{55D091DE-5B20-4531-9908-DBEE67C10164}" dt="2022-02-15T10:05:13.473" v="3983" actId="1036"/>
          <ac:spMkLst>
            <pc:docMk/>
            <pc:sldMk cId="2787497346" sldId="471"/>
            <ac:spMk id="11" creationId="{74300AA2-0AAB-4B72-8517-140C5EFE4D62}"/>
          </ac:spMkLst>
        </pc:spChg>
        <pc:spChg chg="del mod">
          <ac:chgData name="Gintare Vitkauskaite" userId="fcee79df-4ed1-45d4-8c05-9b9f3354d122" providerId="ADAL" clId="{55D091DE-5B20-4531-9908-DBEE67C10164}" dt="2022-02-15T10:05:57.147" v="4112" actId="21"/>
          <ac:spMkLst>
            <pc:docMk/>
            <pc:sldMk cId="2787497346" sldId="471"/>
            <ac:spMk id="12" creationId="{FE29003E-E9AE-40CC-9320-C35C45AB4547}"/>
          </ac:spMkLst>
        </pc:spChg>
        <pc:spChg chg="del mod">
          <ac:chgData name="Gintare Vitkauskaite" userId="fcee79df-4ed1-45d4-8c05-9b9f3354d122" providerId="ADAL" clId="{55D091DE-5B20-4531-9908-DBEE67C10164}" dt="2022-02-15T10:05:57.147" v="4112" actId="21"/>
          <ac:spMkLst>
            <pc:docMk/>
            <pc:sldMk cId="2787497346" sldId="471"/>
            <ac:spMk id="13" creationId="{B873A06A-4D1B-4F1A-99CA-463EC4E07D83}"/>
          </ac:spMkLst>
        </pc:spChg>
        <pc:spChg chg="del">
          <ac:chgData name="Gintare Vitkauskaite" userId="fcee79df-4ed1-45d4-8c05-9b9f3354d122" providerId="ADAL" clId="{55D091DE-5B20-4531-9908-DBEE67C10164}" dt="2022-02-15T10:01:26.517" v="3816" actId="478"/>
          <ac:spMkLst>
            <pc:docMk/>
            <pc:sldMk cId="2787497346" sldId="471"/>
            <ac:spMk id="14" creationId="{579E0ADB-F13D-40B0-B5F1-ED70FB7E510A}"/>
          </ac:spMkLst>
        </pc:spChg>
        <pc:spChg chg="del mod">
          <ac:chgData name="Gintare Vitkauskaite" userId="fcee79df-4ed1-45d4-8c05-9b9f3354d122" providerId="ADAL" clId="{55D091DE-5B20-4531-9908-DBEE67C10164}" dt="2022-02-15T10:01:26.517" v="3816" actId="478"/>
          <ac:spMkLst>
            <pc:docMk/>
            <pc:sldMk cId="2787497346" sldId="471"/>
            <ac:spMk id="15" creationId="{252ED045-1CE1-4E07-B703-C6ADF5B28A56}"/>
          </ac:spMkLst>
        </pc:spChg>
        <pc:spChg chg="add mod">
          <ac:chgData name="Gintare Vitkauskaite" userId="fcee79df-4ed1-45d4-8c05-9b9f3354d122" providerId="ADAL" clId="{55D091DE-5B20-4531-9908-DBEE67C10164}" dt="2022-02-15T10:05:42.769" v="4072" actId="552"/>
          <ac:spMkLst>
            <pc:docMk/>
            <pc:sldMk cId="2787497346" sldId="471"/>
            <ac:spMk id="16" creationId="{D17D82D4-8C32-4A03-98DF-695F9A8E712C}"/>
          </ac:spMkLst>
        </pc:spChg>
        <pc:spChg chg="add mod">
          <ac:chgData name="Gintare Vitkauskaite" userId="fcee79df-4ed1-45d4-8c05-9b9f3354d122" providerId="ADAL" clId="{55D091DE-5B20-4531-9908-DBEE67C10164}" dt="2022-02-15T10:05:33.633" v="4071" actId="1036"/>
          <ac:spMkLst>
            <pc:docMk/>
            <pc:sldMk cId="2787497346" sldId="471"/>
            <ac:spMk id="17" creationId="{D05B3035-F9EA-4E0F-9E1E-C17A36F3FD14}"/>
          </ac:spMkLst>
        </pc:spChg>
      </pc:sldChg>
      <pc:sldChg chg="addSp delSp modSp add mod">
        <pc:chgData name="Gintare Vitkauskaite" userId="fcee79df-4ed1-45d4-8c05-9b9f3354d122" providerId="ADAL" clId="{55D091DE-5B20-4531-9908-DBEE67C10164}" dt="2022-02-15T10:06:45.261" v="4197" actId="552"/>
        <pc:sldMkLst>
          <pc:docMk/>
          <pc:sldMk cId="1985577861" sldId="472"/>
        </pc:sldMkLst>
        <pc:spChg chg="mod">
          <ac:chgData name="Gintare Vitkauskaite" userId="fcee79df-4ed1-45d4-8c05-9b9f3354d122" providerId="ADAL" clId="{55D091DE-5B20-4531-9908-DBEE67C10164}" dt="2022-02-15T10:04:12.506" v="3920" actId="20577"/>
          <ac:spMkLst>
            <pc:docMk/>
            <pc:sldMk cId="1985577861" sldId="472"/>
            <ac:spMk id="2" creationId="{2615DC01-798D-402B-A2E3-D5BC7063749E}"/>
          </ac:spMkLst>
        </pc:spChg>
        <pc:spChg chg="mod">
          <ac:chgData name="Gintare Vitkauskaite" userId="fcee79df-4ed1-45d4-8c05-9b9f3354d122" providerId="ADAL" clId="{55D091DE-5B20-4531-9908-DBEE67C10164}" dt="2022-02-15T10:06:35.964" v="4196" actId="552"/>
          <ac:spMkLst>
            <pc:docMk/>
            <pc:sldMk cId="1985577861" sldId="472"/>
            <ac:spMk id="4" creationId="{C7369088-8C9B-4B75-AEDD-98F46AD92C7F}"/>
          </ac:spMkLst>
        </pc:spChg>
        <pc:spChg chg="mod">
          <ac:chgData name="Gintare Vitkauskaite" userId="fcee79df-4ed1-45d4-8c05-9b9f3354d122" providerId="ADAL" clId="{55D091DE-5B20-4531-9908-DBEE67C10164}" dt="2022-02-15T10:06:45.261" v="4197" actId="552"/>
          <ac:spMkLst>
            <pc:docMk/>
            <pc:sldMk cId="1985577861" sldId="472"/>
            <ac:spMk id="5" creationId="{893B277B-12AE-4BA8-856F-DB500CFDA6D3}"/>
          </ac:spMkLst>
        </pc:spChg>
        <pc:spChg chg="mod">
          <ac:chgData name="Gintare Vitkauskaite" userId="fcee79df-4ed1-45d4-8c05-9b9f3354d122" providerId="ADAL" clId="{55D091DE-5B20-4531-9908-DBEE67C10164}" dt="2022-02-15T10:06:35.964" v="4196" actId="552"/>
          <ac:spMkLst>
            <pc:docMk/>
            <pc:sldMk cId="1985577861" sldId="472"/>
            <ac:spMk id="6" creationId="{503EA29B-690F-4CD7-8A66-8361C671F35A}"/>
          </ac:spMkLst>
        </pc:spChg>
        <pc:spChg chg="mod">
          <ac:chgData name="Gintare Vitkauskaite" userId="fcee79df-4ed1-45d4-8c05-9b9f3354d122" providerId="ADAL" clId="{55D091DE-5B20-4531-9908-DBEE67C10164}" dt="2022-02-15T10:06:45.261" v="4197" actId="552"/>
          <ac:spMkLst>
            <pc:docMk/>
            <pc:sldMk cId="1985577861" sldId="472"/>
            <ac:spMk id="7" creationId="{826BF093-AB05-4D26-B3D8-C9E9282BAF0F}"/>
          </ac:spMkLst>
        </pc:spChg>
        <pc:spChg chg="mod">
          <ac:chgData name="Gintare Vitkauskaite" userId="fcee79df-4ed1-45d4-8c05-9b9f3354d122" providerId="ADAL" clId="{55D091DE-5B20-4531-9908-DBEE67C10164}" dt="2022-02-15T10:06:35.964" v="4196" actId="552"/>
          <ac:spMkLst>
            <pc:docMk/>
            <pc:sldMk cId="1985577861" sldId="472"/>
            <ac:spMk id="8" creationId="{CC25A4F4-111C-471E-8ABB-CC3496A5A222}"/>
          </ac:spMkLst>
        </pc:spChg>
        <pc:spChg chg="mod">
          <ac:chgData name="Gintare Vitkauskaite" userId="fcee79df-4ed1-45d4-8c05-9b9f3354d122" providerId="ADAL" clId="{55D091DE-5B20-4531-9908-DBEE67C10164}" dt="2022-02-15T10:06:45.261" v="4197" actId="552"/>
          <ac:spMkLst>
            <pc:docMk/>
            <pc:sldMk cId="1985577861" sldId="472"/>
            <ac:spMk id="9" creationId="{6B487873-199A-4A7E-90C9-846BFF217519}"/>
          </ac:spMkLst>
        </pc:spChg>
        <pc:spChg chg="del mod">
          <ac:chgData name="Gintare Vitkauskaite" userId="fcee79df-4ed1-45d4-8c05-9b9f3354d122" providerId="ADAL" clId="{55D091DE-5B20-4531-9908-DBEE67C10164}" dt="2022-02-15T10:03:03.674" v="3889" actId="478"/>
          <ac:spMkLst>
            <pc:docMk/>
            <pc:sldMk cId="1985577861" sldId="472"/>
            <ac:spMk id="10" creationId="{9B837D8C-0805-47DB-821B-BB4983CF3A5B}"/>
          </ac:spMkLst>
        </pc:spChg>
        <pc:spChg chg="del mod">
          <ac:chgData name="Gintare Vitkauskaite" userId="fcee79df-4ed1-45d4-8c05-9b9f3354d122" providerId="ADAL" clId="{55D091DE-5B20-4531-9908-DBEE67C10164}" dt="2022-02-15T10:03:03.674" v="3889" actId="478"/>
          <ac:spMkLst>
            <pc:docMk/>
            <pc:sldMk cId="1985577861" sldId="472"/>
            <ac:spMk id="11" creationId="{74300AA2-0AAB-4B72-8517-140C5EFE4D62}"/>
          </ac:spMkLst>
        </pc:spChg>
        <pc:spChg chg="del mod">
          <ac:chgData name="Gintare Vitkauskaite" userId="fcee79df-4ed1-45d4-8c05-9b9f3354d122" providerId="ADAL" clId="{55D091DE-5B20-4531-9908-DBEE67C10164}" dt="2022-02-15T10:03:03.674" v="3889" actId="478"/>
          <ac:spMkLst>
            <pc:docMk/>
            <pc:sldMk cId="1985577861" sldId="472"/>
            <ac:spMk id="12" creationId="{FE29003E-E9AE-40CC-9320-C35C45AB4547}"/>
          </ac:spMkLst>
        </pc:spChg>
        <pc:spChg chg="del mod">
          <ac:chgData name="Gintare Vitkauskaite" userId="fcee79df-4ed1-45d4-8c05-9b9f3354d122" providerId="ADAL" clId="{55D091DE-5B20-4531-9908-DBEE67C10164}" dt="2022-02-15T10:03:03.674" v="3889" actId="478"/>
          <ac:spMkLst>
            <pc:docMk/>
            <pc:sldMk cId="1985577861" sldId="472"/>
            <ac:spMk id="13" creationId="{B873A06A-4D1B-4F1A-99CA-463EC4E07D83}"/>
          </ac:spMkLst>
        </pc:spChg>
        <pc:spChg chg="del">
          <ac:chgData name="Gintare Vitkauskaite" userId="fcee79df-4ed1-45d4-8c05-9b9f3354d122" providerId="ADAL" clId="{55D091DE-5B20-4531-9908-DBEE67C10164}" dt="2022-02-15T10:01:22.964" v="3815" actId="478"/>
          <ac:spMkLst>
            <pc:docMk/>
            <pc:sldMk cId="1985577861" sldId="472"/>
            <ac:spMk id="14" creationId="{579E0ADB-F13D-40B0-B5F1-ED70FB7E510A}"/>
          </ac:spMkLst>
        </pc:spChg>
        <pc:spChg chg="del">
          <ac:chgData name="Gintare Vitkauskaite" userId="fcee79df-4ed1-45d4-8c05-9b9f3354d122" providerId="ADAL" clId="{55D091DE-5B20-4531-9908-DBEE67C10164}" dt="2022-02-15T10:01:22.964" v="3815" actId="478"/>
          <ac:spMkLst>
            <pc:docMk/>
            <pc:sldMk cId="1985577861" sldId="472"/>
            <ac:spMk id="15" creationId="{252ED045-1CE1-4E07-B703-C6ADF5B28A56}"/>
          </ac:spMkLst>
        </pc:spChg>
        <pc:spChg chg="add mod">
          <ac:chgData name="Gintare Vitkauskaite" userId="fcee79df-4ed1-45d4-8c05-9b9f3354d122" providerId="ADAL" clId="{55D091DE-5B20-4531-9908-DBEE67C10164}" dt="2022-02-15T10:06:35.964" v="4196" actId="552"/>
          <ac:spMkLst>
            <pc:docMk/>
            <pc:sldMk cId="1985577861" sldId="472"/>
            <ac:spMk id="16" creationId="{19F14EA9-4266-4D52-8DE2-144DDAB2C7CB}"/>
          </ac:spMkLst>
        </pc:spChg>
        <pc:spChg chg="add mod">
          <ac:chgData name="Gintare Vitkauskaite" userId="fcee79df-4ed1-45d4-8c05-9b9f3354d122" providerId="ADAL" clId="{55D091DE-5B20-4531-9908-DBEE67C10164}" dt="2022-02-15T10:06:45.261" v="4197" actId="552"/>
          <ac:spMkLst>
            <pc:docMk/>
            <pc:sldMk cId="1985577861" sldId="472"/>
            <ac:spMk id="17" creationId="{2EAEDEEC-CB05-48AA-9DF5-3BD260E37195}"/>
          </ac:spMkLst>
        </pc:spChg>
      </pc:sldChg>
      <pc:sldChg chg="addSp delSp modSp new mod">
        <pc:chgData name="Gintare Vitkauskaite" userId="fcee79df-4ed1-45d4-8c05-9b9f3354d122" providerId="ADAL" clId="{55D091DE-5B20-4531-9908-DBEE67C10164}" dt="2022-02-15T10:43:06.167" v="5560" actId="20577"/>
        <pc:sldMkLst>
          <pc:docMk/>
          <pc:sldMk cId="542612597" sldId="473"/>
        </pc:sldMkLst>
        <pc:spChg chg="mod">
          <ac:chgData name="Gintare Vitkauskaite" userId="fcee79df-4ed1-45d4-8c05-9b9f3354d122" providerId="ADAL" clId="{55D091DE-5B20-4531-9908-DBEE67C10164}" dt="2022-02-15T10:07:47.169" v="4222" actId="790"/>
          <ac:spMkLst>
            <pc:docMk/>
            <pc:sldMk cId="542612597" sldId="473"/>
            <ac:spMk id="2" creationId="{E07BBD25-4A6B-4BAA-9774-76C528988D90}"/>
          </ac:spMkLst>
        </pc:spChg>
        <pc:spChg chg="del">
          <ac:chgData name="Gintare Vitkauskaite" userId="fcee79df-4ed1-45d4-8c05-9b9f3354d122" providerId="ADAL" clId="{55D091DE-5B20-4531-9908-DBEE67C10164}" dt="2022-02-15T10:07:29.353" v="4199" actId="478"/>
          <ac:spMkLst>
            <pc:docMk/>
            <pc:sldMk cId="542612597" sldId="473"/>
            <ac:spMk id="3" creationId="{03A59CE1-02E5-4D51-B6DE-BADC18F7C7CD}"/>
          </ac:spMkLst>
        </pc:spChg>
        <pc:graphicFrameChg chg="add mod modGraphic">
          <ac:chgData name="Gintare Vitkauskaite" userId="fcee79df-4ed1-45d4-8c05-9b9f3354d122" providerId="ADAL" clId="{55D091DE-5B20-4531-9908-DBEE67C10164}" dt="2022-02-15T10:43:06.167" v="5560" actId="20577"/>
          <ac:graphicFrameMkLst>
            <pc:docMk/>
            <pc:sldMk cId="542612597" sldId="473"/>
            <ac:graphicFrameMk id="4" creationId="{46B092D2-542D-41F9-9D3F-3FDB0D02DBFB}"/>
          </ac:graphicFrameMkLst>
        </pc:graphicFrameChg>
      </pc:sldChg>
      <pc:sldMasterChg chg="modSldLayout">
        <pc:chgData name="Gintare Vitkauskaite" userId="fcee79df-4ed1-45d4-8c05-9b9f3354d122" providerId="ADAL" clId="{55D091DE-5B20-4531-9908-DBEE67C10164}" dt="2022-02-14T16:30:23.463" v="47" actId="478"/>
        <pc:sldMasterMkLst>
          <pc:docMk/>
          <pc:sldMasterMk cId="4156789678" sldId="2147483648"/>
        </pc:sldMasterMkLst>
        <pc:sldLayoutChg chg="delSp mod">
          <pc:chgData name="Gintare Vitkauskaite" userId="fcee79df-4ed1-45d4-8c05-9b9f3354d122" providerId="ADAL" clId="{55D091DE-5B20-4531-9908-DBEE67C10164}" dt="2022-02-14T16:30:23.463" v="47" actId="478"/>
          <pc:sldLayoutMkLst>
            <pc:docMk/>
            <pc:sldMasterMk cId="4156789678" sldId="2147483648"/>
            <pc:sldLayoutMk cId="4165149092" sldId="2147483660"/>
          </pc:sldLayoutMkLst>
          <pc:picChg chg="del">
            <ac:chgData name="Gintare Vitkauskaite" userId="fcee79df-4ed1-45d4-8c05-9b9f3354d122" providerId="ADAL" clId="{55D091DE-5B20-4531-9908-DBEE67C10164}" dt="2022-02-14T16:30:22.011" v="45" actId="478"/>
            <ac:picMkLst>
              <pc:docMk/>
              <pc:sldMasterMk cId="4156789678" sldId="2147483648"/>
              <pc:sldLayoutMk cId="4165149092" sldId="2147483660"/>
              <ac:picMk id="4" creationId="{78A54098-0B6F-489A-8F0D-6240B4F7F04E}"/>
            </ac:picMkLst>
          </pc:picChg>
          <pc:picChg chg="del">
            <ac:chgData name="Gintare Vitkauskaite" userId="fcee79df-4ed1-45d4-8c05-9b9f3354d122" providerId="ADAL" clId="{55D091DE-5B20-4531-9908-DBEE67C10164}" dt="2022-02-14T16:30:23.463" v="47" actId="478"/>
            <ac:picMkLst>
              <pc:docMk/>
              <pc:sldMasterMk cId="4156789678" sldId="2147483648"/>
              <pc:sldLayoutMk cId="4165149092" sldId="2147483660"/>
              <ac:picMk id="6" creationId="{CE586623-0649-47FC-A84C-B735E4FD9C63}"/>
            </ac:picMkLst>
          </pc:picChg>
          <pc:picChg chg="del">
            <ac:chgData name="Gintare Vitkauskaite" userId="fcee79df-4ed1-45d4-8c05-9b9f3354d122" providerId="ADAL" clId="{55D091DE-5B20-4531-9908-DBEE67C10164}" dt="2022-02-14T16:30:21.113" v="44" actId="478"/>
            <ac:picMkLst>
              <pc:docMk/>
              <pc:sldMasterMk cId="4156789678" sldId="2147483648"/>
              <pc:sldLayoutMk cId="4165149092" sldId="2147483660"/>
              <ac:picMk id="13" creationId="{8CFA15A0-E41E-4808-8D38-4FB569DF9ED6}"/>
            </ac:picMkLst>
          </pc:picChg>
          <pc:picChg chg="del">
            <ac:chgData name="Gintare Vitkauskaite" userId="fcee79df-4ed1-45d4-8c05-9b9f3354d122" providerId="ADAL" clId="{55D091DE-5B20-4531-9908-DBEE67C10164}" dt="2022-02-14T16:30:22.725" v="46" actId="478"/>
            <ac:picMkLst>
              <pc:docMk/>
              <pc:sldMasterMk cId="4156789678" sldId="2147483648"/>
              <pc:sldLayoutMk cId="4165149092" sldId="2147483660"/>
              <ac:picMk id="14" creationId="{13555242-22EA-4585-9DF3-373839F92992}"/>
            </ac:picMkLst>
          </pc:picChg>
        </pc:sldLayoutChg>
      </pc:sldMasterChg>
    </pc:docChg>
  </pc:docChgLst>
  <pc:docChgLst>
    <pc:chgData name="SC Adm" userId="S::administrator@smartcontinent.com::2db39a3f-6149-4290-89f0-e474f71966dd" providerId="AD" clId="Web-{D74AC63A-7589-1F2E-FDD9-D4C5413E288A}"/>
    <pc:docChg chg="addSld delSld modSld sldOrd">
      <pc:chgData name="SC Adm" userId="S::administrator@smartcontinent.com::2db39a3f-6149-4290-89f0-e474f71966dd" providerId="AD" clId="Web-{D74AC63A-7589-1F2E-FDD9-D4C5413E288A}" dt="2022-02-11T15:05:55.675" v="620" actId="14100"/>
      <pc:docMkLst>
        <pc:docMk/>
      </pc:docMkLst>
      <pc:sldChg chg="ord">
        <pc:chgData name="SC Adm" userId="S::administrator@smartcontinent.com::2db39a3f-6149-4290-89f0-e474f71966dd" providerId="AD" clId="Web-{D74AC63A-7589-1F2E-FDD9-D4C5413E288A}" dt="2022-02-11T14:49:13.538" v="433"/>
        <pc:sldMkLst>
          <pc:docMk/>
          <pc:sldMk cId="2939994076" sldId="418"/>
        </pc:sldMkLst>
      </pc:sldChg>
      <pc:sldChg chg="del">
        <pc:chgData name="SC Adm" userId="S::administrator@smartcontinent.com::2db39a3f-6149-4290-89f0-e474f71966dd" providerId="AD" clId="Web-{D74AC63A-7589-1F2E-FDD9-D4C5413E288A}" dt="2022-02-11T14:38:53.645" v="351"/>
        <pc:sldMkLst>
          <pc:docMk/>
          <pc:sldMk cId="3765793736" sldId="436"/>
        </pc:sldMkLst>
      </pc:sldChg>
      <pc:sldChg chg="modSp">
        <pc:chgData name="SC Adm" userId="S::administrator@smartcontinent.com::2db39a3f-6149-4290-89f0-e474f71966dd" providerId="AD" clId="Web-{D74AC63A-7589-1F2E-FDD9-D4C5413E288A}" dt="2022-02-11T14:43:26.622" v="414"/>
        <pc:sldMkLst>
          <pc:docMk/>
          <pc:sldMk cId="2915267452" sldId="446"/>
        </pc:sldMkLst>
        <pc:spChg chg="mod">
          <ac:chgData name="SC Adm" userId="S::administrator@smartcontinent.com::2db39a3f-6149-4290-89f0-e474f71966dd" providerId="AD" clId="Web-{D74AC63A-7589-1F2E-FDD9-D4C5413E288A}" dt="2022-02-11T14:43:26.622" v="414"/>
          <ac:spMkLst>
            <pc:docMk/>
            <pc:sldMk cId="2915267452" sldId="446"/>
            <ac:spMk id="8" creationId="{D4BA0322-774D-45E2-995A-B7FBA65EA31F}"/>
          </ac:spMkLst>
        </pc:spChg>
      </pc:sldChg>
      <pc:sldChg chg="addSp delSp modSp">
        <pc:chgData name="SC Adm" userId="S::administrator@smartcontinent.com::2db39a3f-6149-4290-89f0-e474f71966dd" providerId="AD" clId="Web-{D74AC63A-7589-1F2E-FDD9-D4C5413E288A}" dt="2022-02-11T14:44:19.357" v="425" actId="1076"/>
        <pc:sldMkLst>
          <pc:docMk/>
          <pc:sldMk cId="2357830411" sldId="452"/>
        </pc:sldMkLst>
        <pc:spChg chg="add mod">
          <ac:chgData name="SC Adm" userId="S::administrator@smartcontinent.com::2db39a3f-6149-4290-89f0-e474f71966dd" providerId="AD" clId="Web-{D74AC63A-7589-1F2E-FDD9-D4C5413E288A}" dt="2022-02-11T14:44:19.357" v="425" actId="1076"/>
          <ac:spMkLst>
            <pc:docMk/>
            <pc:sldMk cId="2357830411" sldId="452"/>
            <ac:spMk id="2" creationId="{CD8CF473-A24A-4CF8-9BAD-D2F5AB51982D}"/>
          </ac:spMkLst>
        </pc:spChg>
        <pc:spChg chg="add del mod">
          <ac:chgData name="SC Adm" userId="S::administrator@smartcontinent.com::2db39a3f-6149-4290-89f0-e474f71966dd" providerId="AD" clId="Web-{D74AC63A-7589-1F2E-FDD9-D4C5413E288A}" dt="2022-02-11T14:18:34.643" v="206"/>
          <ac:spMkLst>
            <pc:docMk/>
            <pc:sldMk cId="2357830411" sldId="452"/>
            <ac:spMk id="3" creationId="{0013A870-C4AD-4282-AE56-6ACDA71B4E39}"/>
          </ac:spMkLst>
        </pc:spChg>
        <pc:spChg chg="mod">
          <ac:chgData name="SC Adm" userId="S::administrator@smartcontinent.com::2db39a3f-6149-4290-89f0-e474f71966dd" providerId="AD" clId="Web-{D74AC63A-7589-1F2E-FDD9-D4C5413E288A}" dt="2022-02-11T14:43:55.044" v="422" actId="20577"/>
          <ac:spMkLst>
            <pc:docMk/>
            <pc:sldMk cId="2357830411" sldId="452"/>
            <ac:spMk id="8" creationId="{D4BA0322-774D-45E2-995A-B7FBA65EA31F}"/>
          </ac:spMkLst>
        </pc:spChg>
        <pc:spChg chg="add del mod">
          <ac:chgData name="SC Adm" userId="S::administrator@smartcontinent.com::2db39a3f-6149-4290-89f0-e474f71966dd" providerId="AD" clId="Web-{D74AC63A-7589-1F2E-FDD9-D4C5413E288A}" dt="2022-02-11T14:18:35.659" v="207"/>
          <ac:spMkLst>
            <pc:docMk/>
            <pc:sldMk cId="2357830411" sldId="452"/>
            <ac:spMk id="9" creationId="{2B4E33B6-A45E-405D-BB72-258CAEEC4BD0}"/>
          </ac:spMkLst>
        </pc:spChg>
        <pc:spChg chg="add del mod">
          <ac:chgData name="SC Adm" userId="S::administrator@smartcontinent.com::2db39a3f-6149-4290-89f0-e474f71966dd" providerId="AD" clId="Web-{D74AC63A-7589-1F2E-FDD9-D4C5413E288A}" dt="2022-02-11T14:17:44.532" v="193"/>
          <ac:spMkLst>
            <pc:docMk/>
            <pc:sldMk cId="2357830411" sldId="452"/>
            <ac:spMk id="10" creationId="{B5E41A96-C8A8-464B-ADB2-68BE1A4C8273}"/>
          </ac:spMkLst>
        </pc:spChg>
        <pc:spChg chg="add del mod">
          <ac:chgData name="SC Adm" userId="S::administrator@smartcontinent.com::2db39a3f-6149-4290-89f0-e474f71966dd" providerId="AD" clId="Web-{D74AC63A-7589-1F2E-FDD9-D4C5413E288A}" dt="2022-02-11T14:18:33.971" v="205"/>
          <ac:spMkLst>
            <pc:docMk/>
            <pc:sldMk cId="2357830411" sldId="452"/>
            <ac:spMk id="11" creationId="{D192C839-D215-4DE2-A29A-18E4979F4971}"/>
          </ac:spMkLst>
        </pc:spChg>
        <pc:spChg chg="add mod">
          <ac:chgData name="SC Adm" userId="S::administrator@smartcontinent.com::2db39a3f-6149-4290-89f0-e474f71966dd" providerId="AD" clId="Web-{D74AC63A-7589-1F2E-FDD9-D4C5413E288A}" dt="2022-02-11T14:20:55.959" v="213" actId="20577"/>
          <ac:spMkLst>
            <pc:docMk/>
            <pc:sldMk cId="2357830411" sldId="452"/>
            <ac:spMk id="12" creationId="{3E1D51AD-7782-457D-9BE6-0FEEA17019F8}"/>
          </ac:spMkLst>
        </pc:spChg>
        <pc:spChg chg="add del mod">
          <ac:chgData name="SC Adm" userId="S::administrator@smartcontinent.com::2db39a3f-6149-4290-89f0-e474f71966dd" providerId="AD" clId="Web-{D74AC63A-7589-1F2E-FDD9-D4C5413E288A}" dt="2022-02-11T14:18:19.736" v="201"/>
          <ac:spMkLst>
            <pc:docMk/>
            <pc:sldMk cId="2357830411" sldId="452"/>
            <ac:spMk id="13" creationId="{2F9BDEEA-F918-4467-B894-AB1ABA6C7C13}"/>
          </ac:spMkLst>
        </pc:spChg>
        <pc:spChg chg="add del mod">
          <ac:chgData name="SC Adm" userId="S::administrator@smartcontinent.com::2db39a3f-6149-4290-89f0-e474f71966dd" providerId="AD" clId="Web-{D74AC63A-7589-1F2E-FDD9-D4C5413E288A}" dt="2022-02-11T14:17:45.860" v="194"/>
          <ac:spMkLst>
            <pc:docMk/>
            <pc:sldMk cId="2357830411" sldId="452"/>
            <ac:spMk id="14" creationId="{AB908A4A-008A-4C36-9B67-A48C2B7857A1}"/>
          </ac:spMkLst>
        </pc:spChg>
        <pc:spChg chg="add mod">
          <ac:chgData name="SC Adm" userId="S::administrator@smartcontinent.com::2db39a3f-6149-4290-89f0-e474f71966dd" providerId="AD" clId="Web-{D74AC63A-7589-1F2E-FDD9-D4C5413E288A}" dt="2022-02-11T14:29:54.943" v="317"/>
          <ac:spMkLst>
            <pc:docMk/>
            <pc:sldMk cId="2357830411" sldId="452"/>
            <ac:spMk id="15" creationId="{181E55F1-B897-496C-A203-2F9809E23881}"/>
          </ac:spMkLst>
        </pc:spChg>
        <pc:spChg chg="add mod">
          <ac:chgData name="SC Adm" userId="S::administrator@smartcontinent.com::2db39a3f-6149-4290-89f0-e474f71966dd" providerId="AD" clId="Web-{D74AC63A-7589-1F2E-FDD9-D4C5413E288A}" dt="2022-02-11T14:37:46.800" v="350" actId="20577"/>
          <ac:spMkLst>
            <pc:docMk/>
            <pc:sldMk cId="2357830411" sldId="452"/>
            <ac:spMk id="17" creationId="{5325A1A7-0F0C-44F3-8DFD-586133FCFBC2}"/>
          </ac:spMkLst>
        </pc:spChg>
        <pc:spChg chg="mod">
          <ac:chgData name="SC Adm" userId="S::administrator@smartcontinent.com::2db39a3f-6149-4290-89f0-e474f71966dd" providerId="AD" clId="Web-{D74AC63A-7589-1F2E-FDD9-D4C5413E288A}" dt="2022-02-11T14:07:26.015" v="7" actId="14100"/>
          <ac:spMkLst>
            <pc:docMk/>
            <pc:sldMk cId="2357830411" sldId="452"/>
            <ac:spMk id="26" creationId="{75909F3D-47DF-49E5-B8AD-69EEF5DB3147}"/>
          </ac:spMkLst>
        </pc:spChg>
        <pc:spChg chg="del">
          <ac:chgData name="SC Adm" userId="S::administrator@smartcontinent.com::2db39a3f-6149-4290-89f0-e474f71966dd" providerId="AD" clId="Web-{D74AC63A-7589-1F2E-FDD9-D4C5413E288A}" dt="2022-02-11T14:17:19.907" v="175"/>
          <ac:spMkLst>
            <pc:docMk/>
            <pc:sldMk cId="2357830411" sldId="452"/>
            <ac:spMk id="38" creationId="{787DCCBB-04AD-45F3-814A-F0BE45E2CFE9}"/>
          </ac:spMkLst>
        </pc:spChg>
        <pc:spChg chg="del">
          <ac:chgData name="SC Adm" userId="S::administrator@smartcontinent.com::2db39a3f-6149-4290-89f0-e474f71966dd" providerId="AD" clId="Web-{D74AC63A-7589-1F2E-FDD9-D4C5413E288A}" dt="2022-02-11T14:17:16.828" v="173"/>
          <ac:spMkLst>
            <pc:docMk/>
            <pc:sldMk cId="2357830411" sldId="452"/>
            <ac:spMk id="47" creationId="{48889598-272E-46E7-9D8C-9F5238F35226}"/>
          </ac:spMkLst>
        </pc:spChg>
        <pc:spChg chg="add mod">
          <ac:chgData name="SC Adm" userId="S::administrator@smartcontinent.com::2db39a3f-6149-4290-89f0-e474f71966dd" providerId="AD" clId="Web-{D74AC63A-7589-1F2E-FDD9-D4C5413E288A}" dt="2022-02-11T14:29:34.177" v="313"/>
          <ac:spMkLst>
            <pc:docMk/>
            <pc:sldMk cId="2357830411" sldId="452"/>
            <ac:spMk id="48" creationId="{8E65E5A1-D897-451C-A948-D34178B37D20}"/>
          </ac:spMkLst>
        </pc:spChg>
        <pc:spChg chg="mod">
          <ac:chgData name="SC Adm" userId="S::administrator@smartcontinent.com::2db39a3f-6149-4290-89f0-e474f71966dd" providerId="AD" clId="Web-{D74AC63A-7589-1F2E-FDD9-D4C5413E288A}" dt="2022-02-11T14:44:14.717" v="424" actId="1076"/>
          <ac:spMkLst>
            <pc:docMk/>
            <pc:sldMk cId="2357830411" sldId="452"/>
            <ac:spMk id="53" creationId="{A347CF0E-C2E2-44BD-81B2-6E6C77E718A9}"/>
          </ac:spMkLst>
        </pc:spChg>
        <pc:spChg chg="mod">
          <ac:chgData name="SC Adm" userId="S::administrator@smartcontinent.com::2db39a3f-6149-4290-89f0-e474f71966dd" providerId="AD" clId="Web-{D74AC63A-7589-1F2E-FDD9-D4C5413E288A}" dt="2022-02-11T14:20:55.850" v="212" actId="20577"/>
          <ac:spMkLst>
            <pc:docMk/>
            <pc:sldMk cId="2357830411" sldId="452"/>
            <ac:spMk id="54" creationId="{D67A3999-F853-4978-9A88-F0FE42E9F15B}"/>
          </ac:spMkLst>
        </pc:spChg>
        <pc:spChg chg="mod">
          <ac:chgData name="SC Adm" userId="S::administrator@smartcontinent.com::2db39a3f-6149-4290-89f0-e474f71966dd" providerId="AD" clId="Web-{D74AC63A-7589-1F2E-FDD9-D4C5413E288A}" dt="2022-02-11T14:29:09.692" v="309" actId="20577"/>
          <ac:spMkLst>
            <pc:docMk/>
            <pc:sldMk cId="2357830411" sldId="452"/>
            <ac:spMk id="55" creationId="{0D180A6D-CDDD-4645-A173-EC4A958A3970}"/>
          </ac:spMkLst>
        </pc:spChg>
        <pc:spChg chg="mod">
          <ac:chgData name="SC Adm" userId="S::administrator@smartcontinent.com::2db39a3f-6149-4290-89f0-e474f71966dd" providerId="AD" clId="Web-{D74AC63A-7589-1F2E-FDD9-D4C5413E288A}" dt="2022-02-11T14:22:16.290" v="233" actId="20577"/>
          <ac:spMkLst>
            <pc:docMk/>
            <pc:sldMk cId="2357830411" sldId="452"/>
            <ac:spMk id="56" creationId="{A564C084-E763-420B-8F8C-C44512C660C1}"/>
          </ac:spMkLst>
        </pc:spChg>
        <pc:grpChg chg="add mod">
          <ac:chgData name="SC Adm" userId="S::administrator@smartcontinent.com::2db39a3f-6149-4290-89f0-e474f71966dd" providerId="AD" clId="Web-{D74AC63A-7589-1F2E-FDD9-D4C5413E288A}" dt="2022-02-11T14:33:13.558" v="320" actId="1076"/>
          <ac:grpSpMkLst>
            <pc:docMk/>
            <pc:sldMk cId="2357830411" sldId="452"/>
            <ac:grpSpMk id="16" creationId="{C1406930-A32C-4E1E-9552-17D94B020CB8}"/>
          </ac:grpSpMkLst>
        </pc:grpChg>
        <pc:grpChg chg="mod">
          <ac:chgData name="SC Adm" userId="S::administrator@smartcontinent.com::2db39a3f-6149-4290-89f0-e474f71966dd" providerId="AD" clId="Web-{D74AC63A-7589-1F2E-FDD9-D4C5413E288A}" dt="2022-02-11T14:07:07.359" v="2" actId="1076"/>
          <ac:grpSpMkLst>
            <pc:docMk/>
            <pc:sldMk cId="2357830411" sldId="452"/>
            <ac:grpSpMk id="21" creationId="{E22705AF-C88B-4341-A23B-831D8B0F2B62}"/>
          </ac:grpSpMkLst>
        </pc:grpChg>
        <pc:grpChg chg="mod">
          <ac:chgData name="SC Adm" userId="S::administrator@smartcontinent.com::2db39a3f-6149-4290-89f0-e474f71966dd" providerId="AD" clId="Web-{D74AC63A-7589-1F2E-FDD9-D4C5413E288A}" dt="2022-02-11T14:44:07.170" v="423" actId="1076"/>
          <ac:grpSpMkLst>
            <pc:docMk/>
            <pc:sldMk cId="2357830411" sldId="452"/>
            <ac:grpSpMk id="25" creationId="{337BC4D6-76DB-40CD-AEC7-B336BDE348CD}"/>
          </ac:grpSpMkLst>
        </pc:grpChg>
        <pc:grpChg chg="del">
          <ac:chgData name="SC Adm" userId="S::administrator@smartcontinent.com::2db39a3f-6149-4290-89f0-e474f71966dd" providerId="AD" clId="Web-{D74AC63A-7589-1F2E-FDD9-D4C5413E288A}" dt="2022-02-11T14:17:19.907" v="174"/>
          <ac:grpSpMkLst>
            <pc:docMk/>
            <pc:sldMk cId="2357830411" sldId="452"/>
            <ac:grpSpMk id="46" creationId="{4313B0BC-DEAF-4320-BB35-EE66F54326B0}"/>
          </ac:grpSpMkLst>
        </pc:grpChg>
        <pc:grpChg chg="mod">
          <ac:chgData name="SC Adm" userId="S::administrator@smartcontinent.com::2db39a3f-6149-4290-89f0-e474f71966dd" providerId="AD" clId="Web-{D74AC63A-7589-1F2E-FDD9-D4C5413E288A}" dt="2022-02-11T14:17:25.001" v="176" actId="1076"/>
          <ac:grpSpMkLst>
            <pc:docMk/>
            <pc:sldMk cId="2357830411" sldId="452"/>
            <ac:grpSpMk id="49" creationId="{84DF5076-1DA5-4282-925D-B07553CA42E4}"/>
          </ac:grpSpMkLst>
        </pc:grpChg>
        <pc:grpChg chg="add mod">
          <ac:chgData name="SC Adm" userId="S::administrator@smartcontinent.com::2db39a3f-6149-4290-89f0-e474f71966dd" providerId="AD" clId="Web-{D74AC63A-7589-1F2E-FDD9-D4C5413E288A}" dt="2022-02-11T14:33:13.605" v="321" actId="1076"/>
          <ac:grpSpMkLst>
            <pc:docMk/>
            <pc:sldMk cId="2357830411" sldId="452"/>
            <ac:grpSpMk id="52" creationId="{96624199-4701-4C79-8154-921E7CA09689}"/>
          </ac:grpSpMkLst>
        </pc:grpChg>
      </pc:sldChg>
      <pc:sldChg chg="modSp add replId">
        <pc:chgData name="SC Adm" userId="S::administrator@smartcontinent.com::2db39a3f-6149-4290-89f0-e474f71966dd" providerId="AD" clId="Web-{D74AC63A-7589-1F2E-FDD9-D4C5413E288A}" dt="2022-02-11T14:46:49.471" v="432"/>
        <pc:sldMkLst>
          <pc:docMk/>
          <pc:sldMk cId="1552612893" sldId="455"/>
        </pc:sldMkLst>
        <pc:spChg chg="mod">
          <ac:chgData name="SC Adm" userId="S::administrator@smartcontinent.com::2db39a3f-6149-4290-89f0-e474f71966dd" providerId="AD" clId="Web-{D74AC63A-7589-1F2E-FDD9-D4C5413E288A}" dt="2022-02-11T14:45:31.688" v="430"/>
          <ac:spMkLst>
            <pc:docMk/>
            <pc:sldMk cId="1552612893" sldId="455"/>
            <ac:spMk id="4" creationId="{35DD2BD4-2C59-4687-96FB-15ADE570F9CB}"/>
          </ac:spMkLst>
        </pc:spChg>
        <pc:spChg chg="mod">
          <ac:chgData name="SC Adm" userId="S::administrator@smartcontinent.com::2db39a3f-6149-4290-89f0-e474f71966dd" providerId="AD" clId="Web-{D74AC63A-7589-1F2E-FDD9-D4C5413E288A}" dt="2022-02-11T14:46:49.471" v="432"/>
          <ac:spMkLst>
            <pc:docMk/>
            <pc:sldMk cId="1552612893" sldId="455"/>
            <ac:spMk id="5" creationId="{247206C0-5D09-4092-9BF6-F83C998C8935}"/>
          </ac:spMkLst>
        </pc:spChg>
      </pc:sldChg>
      <pc:sldChg chg="addSp delSp modSp add replId">
        <pc:chgData name="SC Adm" userId="S::administrator@smartcontinent.com::2db39a3f-6149-4290-89f0-e474f71966dd" providerId="AD" clId="Web-{D74AC63A-7589-1F2E-FDD9-D4C5413E288A}" dt="2022-02-11T15:05:55.675" v="620" actId="14100"/>
        <pc:sldMkLst>
          <pc:docMk/>
          <pc:sldMk cId="2223594429" sldId="456"/>
        </pc:sldMkLst>
        <pc:spChg chg="mod">
          <ac:chgData name="SC Adm" userId="S::administrator@smartcontinent.com::2db39a3f-6149-4290-89f0-e474f71966dd" providerId="AD" clId="Web-{D74AC63A-7589-1F2E-FDD9-D4C5413E288A}" dt="2022-02-11T14:44:45.702" v="428"/>
          <ac:spMkLst>
            <pc:docMk/>
            <pc:sldMk cId="2223594429" sldId="456"/>
            <ac:spMk id="4" creationId="{35DD2BD4-2C59-4687-96FB-15ADE570F9CB}"/>
          </ac:spMkLst>
        </pc:spChg>
        <pc:spChg chg="mod">
          <ac:chgData name="SC Adm" userId="S::administrator@smartcontinent.com::2db39a3f-6149-4290-89f0-e474f71966dd" providerId="AD" clId="Web-{D74AC63A-7589-1F2E-FDD9-D4C5413E288A}" dt="2022-02-11T14:45:22.734" v="429"/>
          <ac:spMkLst>
            <pc:docMk/>
            <pc:sldMk cId="2223594429" sldId="456"/>
            <ac:spMk id="5" creationId="{247206C0-5D09-4092-9BF6-F83C998C8935}"/>
          </ac:spMkLst>
        </pc:spChg>
        <pc:spChg chg="mod">
          <ac:chgData name="SC Adm" userId="S::administrator@smartcontinent.com::2db39a3f-6149-4290-89f0-e474f71966dd" providerId="AD" clId="Web-{D74AC63A-7589-1F2E-FDD9-D4C5413E288A}" dt="2022-02-11T14:54:29.359" v="563" actId="20577"/>
          <ac:spMkLst>
            <pc:docMk/>
            <pc:sldMk cId="2223594429" sldId="456"/>
            <ac:spMk id="8" creationId="{D4BA0322-774D-45E2-995A-B7FBA65EA31F}"/>
          </ac:spMkLst>
        </pc:spChg>
        <pc:spChg chg="mod topLvl">
          <ac:chgData name="SC Adm" userId="S::administrator@smartcontinent.com::2db39a3f-6149-4290-89f0-e474f71966dd" providerId="AD" clId="Web-{D74AC63A-7589-1F2E-FDD9-D4C5413E288A}" dt="2022-02-11T15:02:20.560" v="617" actId="14100"/>
          <ac:spMkLst>
            <pc:docMk/>
            <pc:sldMk cId="2223594429" sldId="456"/>
            <ac:spMk id="17" creationId="{3943F60A-B91C-4B98-9E64-78FCCC2F3D54}"/>
          </ac:spMkLst>
        </pc:spChg>
        <pc:spChg chg="del topLvl">
          <ac:chgData name="SC Adm" userId="S::administrator@smartcontinent.com::2db39a3f-6149-4290-89f0-e474f71966dd" providerId="AD" clId="Web-{D74AC63A-7589-1F2E-FDD9-D4C5413E288A}" dt="2022-02-11T14:51:49.089" v="434"/>
          <ac:spMkLst>
            <pc:docMk/>
            <pc:sldMk cId="2223594429" sldId="456"/>
            <ac:spMk id="31" creationId="{3594246A-D1E7-4360-9D2D-BE94E233B41D}"/>
          </ac:spMkLst>
        </pc:spChg>
        <pc:spChg chg="del topLvl">
          <ac:chgData name="SC Adm" userId="S::administrator@smartcontinent.com::2db39a3f-6149-4290-89f0-e474f71966dd" providerId="AD" clId="Web-{D74AC63A-7589-1F2E-FDD9-D4C5413E288A}" dt="2022-02-11T14:53:09.248" v="454"/>
          <ac:spMkLst>
            <pc:docMk/>
            <pc:sldMk cId="2223594429" sldId="456"/>
            <ac:spMk id="33" creationId="{329DBB42-0C2E-44CE-AEBF-0E418ED6416A}"/>
          </ac:spMkLst>
        </pc:spChg>
        <pc:spChg chg="del topLvl">
          <ac:chgData name="SC Adm" userId="S::administrator@smartcontinent.com::2db39a3f-6149-4290-89f0-e474f71966dd" providerId="AD" clId="Web-{D74AC63A-7589-1F2E-FDD9-D4C5413E288A}" dt="2022-02-11T14:52:39.372" v="448"/>
          <ac:spMkLst>
            <pc:docMk/>
            <pc:sldMk cId="2223594429" sldId="456"/>
            <ac:spMk id="34" creationId="{076A2663-7BC0-48F1-BD18-AA10EBD22B10}"/>
          </ac:spMkLst>
        </pc:spChg>
        <pc:spChg chg="mod">
          <ac:chgData name="SC Adm" userId="S::administrator@smartcontinent.com::2db39a3f-6149-4290-89f0-e474f71966dd" providerId="AD" clId="Web-{D74AC63A-7589-1F2E-FDD9-D4C5413E288A}" dt="2022-02-11T14:59:09.023" v="594" actId="20577"/>
          <ac:spMkLst>
            <pc:docMk/>
            <pc:sldMk cId="2223594429" sldId="456"/>
            <ac:spMk id="38" creationId="{787DCCBB-04AD-45F3-814A-F0BE45E2CFE9}"/>
          </ac:spMkLst>
        </pc:spChg>
        <pc:spChg chg="mod">
          <ac:chgData name="SC Adm" userId="S::administrator@smartcontinent.com::2db39a3f-6149-4290-89f0-e474f71966dd" providerId="AD" clId="Web-{D74AC63A-7589-1F2E-FDD9-D4C5413E288A}" dt="2022-02-11T15:05:34.143" v="618" actId="14100"/>
          <ac:spMkLst>
            <pc:docMk/>
            <pc:sldMk cId="2223594429" sldId="456"/>
            <ac:spMk id="40" creationId="{DD3E6B97-7117-4711-844A-EB2B78B3936F}"/>
          </ac:spMkLst>
        </pc:spChg>
        <pc:spChg chg="mod">
          <ac:chgData name="SC Adm" userId="S::administrator@smartcontinent.com::2db39a3f-6149-4290-89f0-e474f71966dd" providerId="AD" clId="Web-{D74AC63A-7589-1F2E-FDD9-D4C5413E288A}" dt="2022-02-11T15:05:43.003" v="619" actId="14100"/>
          <ac:spMkLst>
            <pc:docMk/>
            <pc:sldMk cId="2223594429" sldId="456"/>
            <ac:spMk id="41" creationId="{D38A1F4D-8F1E-4C4B-B6D4-7D7F9B418D3D}"/>
          </ac:spMkLst>
        </pc:spChg>
        <pc:spChg chg="del">
          <ac:chgData name="SC Adm" userId="S::administrator@smartcontinent.com::2db39a3f-6149-4290-89f0-e474f71966dd" providerId="AD" clId="Web-{D74AC63A-7589-1F2E-FDD9-D4C5413E288A}" dt="2022-02-11T14:57:23.880" v="579"/>
          <ac:spMkLst>
            <pc:docMk/>
            <pc:sldMk cId="2223594429" sldId="456"/>
            <ac:spMk id="42" creationId="{D78A8041-6EE4-4A39-9D3B-6C16E8AB8610}"/>
          </ac:spMkLst>
        </pc:spChg>
        <pc:spChg chg="add mod">
          <ac:chgData name="SC Adm" userId="S::administrator@smartcontinent.com::2db39a3f-6149-4290-89f0-e474f71966dd" providerId="AD" clId="Web-{D74AC63A-7589-1F2E-FDD9-D4C5413E288A}" dt="2022-02-11T14:58:53.382" v="588" actId="1076"/>
          <ac:spMkLst>
            <pc:docMk/>
            <pc:sldMk cId="2223594429" sldId="456"/>
            <ac:spMk id="43" creationId="{42534A37-6FDA-4141-B1DC-09AE9F573FA9}"/>
          </ac:spMkLst>
        </pc:spChg>
        <pc:spChg chg="del">
          <ac:chgData name="SC Adm" userId="S::administrator@smartcontinent.com::2db39a3f-6149-4290-89f0-e474f71966dd" providerId="AD" clId="Web-{D74AC63A-7589-1F2E-FDD9-D4C5413E288A}" dt="2022-02-11T14:57:21.677" v="578"/>
          <ac:spMkLst>
            <pc:docMk/>
            <pc:sldMk cId="2223594429" sldId="456"/>
            <ac:spMk id="45" creationId="{59F7A564-AD83-4869-A1F3-787398A274EB}"/>
          </ac:spMkLst>
        </pc:spChg>
        <pc:spChg chg="del">
          <ac:chgData name="SC Adm" userId="S::administrator@smartcontinent.com::2db39a3f-6149-4290-89f0-e474f71966dd" providerId="AD" clId="Web-{D74AC63A-7589-1F2E-FDD9-D4C5413E288A}" dt="2022-02-11T14:56:46.629" v="565"/>
          <ac:spMkLst>
            <pc:docMk/>
            <pc:sldMk cId="2223594429" sldId="456"/>
            <ac:spMk id="47" creationId="{48889598-272E-46E7-9D8C-9F5238F35226}"/>
          </ac:spMkLst>
        </pc:spChg>
        <pc:spChg chg="add del">
          <ac:chgData name="SC Adm" userId="S::administrator@smartcontinent.com::2db39a3f-6149-4290-89f0-e474f71966dd" providerId="AD" clId="Web-{D74AC63A-7589-1F2E-FDD9-D4C5413E288A}" dt="2022-02-11T14:57:15.145" v="576"/>
          <ac:spMkLst>
            <pc:docMk/>
            <pc:sldMk cId="2223594429" sldId="456"/>
            <ac:spMk id="52" creationId="{4C46C88B-F65A-4294-9593-E25D70675A09}"/>
          </ac:spMkLst>
        </pc:spChg>
        <pc:spChg chg="mod">
          <ac:chgData name="SC Adm" userId="S::administrator@smartcontinent.com::2db39a3f-6149-4290-89f0-e474f71966dd" providerId="AD" clId="Web-{D74AC63A-7589-1F2E-FDD9-D4C5413E288A}" dt="2022-02-11T15:05:55.675" v="620" actId="14100"/>
          <ac:spMkLst>
            <pc:docMk/>
            <pc:sldMk cId="2223594429" sldId="456"/>
            <ac:spMk id="54" creationId="{FE218D09-60A4-4BE9-8E4D-42145B473697}"/>
          </ac:spMkLst>
        </pc:spChg>
        <pc:spChg chg="del">
          <ac:chgData name="SC Adm" userId="S::administrator@smartcontinent.com::2db39a3f-6149-4290-89f0-e474f71966dd" providerId="AD" clId="Web-{D74AC63A-7589-1F2E-FDD9-D4C5413E288A}" dt="2022-02-11T14:57:17.708" v="577"/>
          <ac:spMkLst>
            <pc:docMk/>
            <pc:sldMk cId="2223594429" sldId="456"/>
            <ac:spMk id="59" creationId="{8FF8C2D4-C5C5-4720-AE8E-54EA250B7CB2}"/>
          </ac:spMkLst>
        </pc:spChg>
        <pc:grpChg chg="mod">
          <ac:chgData name="SC Adm" userId="S::administrator@smartcontinent.com::2db39a3f-6149-4290-89f0-e474f71966dd" providerId="AD" clId="Web-{D74AC63A-7589-1F2E-FDD9-D4C5413E288A}" dt="2022-02-11T14:56:43.473" v="564" actId="1076"/>
          <ac:grpSpMkLst>
            <pc:docMk/>
            <pc:sldMk cId="2223594429" sldId="456"/>
            <ac:grpSpMk id="21" creationId="{E22705AF-C88B-4341-A23B-831D8B0F2B62}"/>
          </ac:grpSpMkLst>
        </pc:grpChg>
        <pc:grpChg chg="del">
          <ac:chgData name="SC Adm" userId="S::administrator@smartcontinent.com::2db39a3f-6149-4290-89f0-e474f71966dd" providerId="AD" clId="Web-{D74AC63A-7589-1F2E-FDD9-D4C5413E288A}" dt="2022-02-11T14:52:39.372" v="448"/>
          <ac:grpSpMkLst>
            <pc:docMk/>
            <pc:sldMk cId="2223594429" sldId="456"/>
            <ac:grpSpMk id="35" creationId="{58A120A3-C995-4456-8935-37B9EF9F8C61}"/>
          </ac:grpSpMkLst>
        </pc:grpChg>
        <pc:grpChg chg="del">
          <ac:chgData name="SC Adm" userId="S::administrator@smartcontinent.com::2db39a3f-6149-4290-89f0-e474f71966dd" providerId="AD" clId="Web-{D74AC63A-7589-1F2E-FDD9-D4C5413E288A}" dt="2022-02-11T14:51:49.089" v="434"/>
          <ac:grpSpMkLst>
            <pc:docMk/>
            <pc:sldMk cId="2223594429" sldId="456"/>
            <ac:grpSpMk id="36" creationId="{ADEE0810-9935-4643-89FE-33606C636F54}"/>
          </ac:grpSpMkLst>
        </pc:grpChg>
        <pc:grpChg chg="mod">
          <ac:chgData name="SC Adm" userId="S::administrator@smartcontinent.com::2db39a3f-6149-4290-89f0-e474f71966dd" providerId="AD" clId="Web-{D74AC63A-7589-1F2E-FDD9-D4C5413E288A}" dt="2022-02-11T14:59:14.727" v="595" actId="1076"/>
          <ac:grpSpMkLst>
            <pc:docMk/>
            <pc:sldMk cId="2223594429" sldId="456"/>
            <ac:grpSpMk id="46" creationId="{4313B0BC-DEAF-4320-BB35-EE66F54326B0}"/>
          </ac:grpSpMkLst>
        </pc:grpChg>
        <pc:grpChg chg="add del mod">
          <ac:chgData name="SC Adm" userId="S::administrator@smartcontinent.com::2db39a3f-6149-4290-89f0-e474f71966dd" providerId="AD" clId="Web-{D74AC63A-7589-1F2E-FDD9-D4C5413E288A}" dt="2022-02-11T14:57:08.536" v="574"/>
          <ac:grpSpMkLst>
            <pc:docMk/>
            <pc:sldMk cId="2223594429" sldId="456"/>
            <ac:grpSpMk id="48" creationId="{FF07D1DB-06B9-42B6-A2A8-A9D217BA3C3B}"/>
          </ac:grpSpMkLst>
        </pc:grpChg>
      </pc:sldChg>
    </pc:docChg>
  </pc:docChgLst>
  <pc:docChgLst>
    <pc:chgData name="Egle Kalasnikovaite" userId="062d4a7a-f393-4074-bf4e-7a7e70ec959d" providerId="ADAL" clId="{2E4FD718-CAE7-4E9E-ABF2-B8B0A8E36B7F}"/>
    <pc:docChg chg="undo redo custSel addSld delSld modSld">
      <pc:chgData name="Egle Kalasnikovaite" userId="062d4a7a-f393-4074-bf4e-7a7e70ec959d" providerId="ADAL" clId="{2E4FD718-CAE7-4E9E-ABF2-B8B0A8E36B7F}" dt="2022-02-11T16:15:55.391" v="2216" actId="12"/>
      <pc:docMkLst>
        <pc:docMk/>
      </pc:docMkLst>
      <pc:sldChg chg="modSp mod">
        <pc:chgData name="Egle Kalasnikovaite" userId="062d4a7a-f393-4074-bf4e-7a7e70ec959d" providerId="ADAL" clId="{2E4FD718-CAE7-4E9E-ABF2-B8B0A8E36B7F}" dt="2022-02-11T15:10:31.051" v="2035" actId="20577"/>
        <pc:sldMkLst>
          <pc:docMk/>
          <pc:sldMk cId="1299518292" sldId="420"/>
        </pc:sldMkLst>
        <pc:spChg chg="mod">
          <ac:chgData name="Egle Kalasnikovaite" userId="062d4a7a-f393-4074-bf4e-7a7e70ec959d" providerId="ADAL" clId="{2E4FD718-CAE7-4E9E-ABF2-B8B0A8E36B7F}" dt="2022-02-11T15:10:31.051" v="2035" actId="20577"/>
          <ac:spMkLst>
            <pc:docMk/>
            <pc:sldMk cId="1299518292" sldId="420"/>
            <ac:spMk id="4" creationId="{A60300DF-DE5E-4BC9-8B27-525DBF3709B8}"/>
          </ac:spMkLst>
        </pc:spChg>
      </pc:sldChg>
      <pc:sldChg chg="del">
        <pc:chgData name="Egle Kalasnikovaite" userId="062d4a7a-f393-4074-bf4e-7a7e70ec959d" providerId="ADAL" clId="{2E4FD718-CAE7-4E9E-ABF2-B8B0A8E36B7F}" dt="2022-02-11T14:53:40.844" v="1986" actId="47"/>
        <pc:sldMkLst>
          <pc:docMk/>
          <pc:sldMk cId="2795334785" sldId="426"/>
        </pc:sldMkLst>
      </pc:sldChg>
      <pc:sldChg chg="del">
        <pc:chgData name="Egle Kalasnikovaite" userId="062d4a7a-f393-4074-bf4e-7a7e70ec959d" providerId="ADAL" clId="{2E4FD718-CAE7-4E9E-ABF2-B8B0A8E36B7F}" dt="2022-02-11T14:53:35.697" v="1985" actId="47"/>
        <pc:sldMkLst>
          <pc:docMk/>
          <pc:sldMk cId="2728250098" sldId="428"/>
        </pc:sldMkLst>
      </pc:sldChg>
      <pc:sldChg chg="del">
        <pc:chgData name="Egle Kalasnikovaite" userId="062d4a7a-f393-4074-bf4e-7a7e70ec959d" providerId="ADAL" clId="{2E4FD718-CAE7-4E9E-ABF2-B8B0A8E36B7F}" dt="2022-02-11T14:53:31.539" v="1984" actId="47"/>
        <pc:sldMkLst>
          <pc:docMk/>
          <pc:sldMk cId="3297013483" sldId="431"/>
        </pc:sldMkLst>
      </pc:sldChg>
      <pc:sldChg chg="addSp delSp modSp new del mod modNotesTx">
        <pc:chgData name="Egle Kalasnikovaite" userId="062d4a7a-f393-4074-bf4e-7a7e70ec959d" providerId="ADAL" clId="{2E4FD718-CAE7-4E9E-ABF2-B8B0A8E36B7F}" dt="2022-02-11T13:14:19.553" v="936" actId="47"/>
        <pc:sldMkLst>
          <pc:docMk/>
          <pc:sldMk cId="3131947769" sldId="442"/>
        </pc:sldMkLst>
        <pc:spChg chg="mod">
          <ac:chgData name="Egle Kalasnikovaite" userId="062d4a7a-f393-4074-bf4e-7a7e70ec959d" providerId="ADAL" clId="{2E4FD718-CAE7-4E9E-ABF2-B8B0A8E36B7F}" dt="2022-02-11T12:21:36.559" v="134" actId="403"/>
          <ac:spMkLst>
            <pc:docMk/>
            <pc:sldMk cId="3131947769" sldId="442"/>
            <ac:spMk id="2" creationId="{E350CF06-F67F-46A1-A04D-A878CEED134A}"/>
          </ac:spMkLst>
        </pc:spChg>
        <pc:spChg chg="del">
          <ac:chgData name="Egle Kalasnikovaite" userId="062d4a7a-f393-4074-bf4e-7a7e70ec959d" providerId="ADAL" clId="{2E4FD718-CAE7-4E9E-ABF2-B8B0A8E36B7F}" dt="2022-02-11T12:12:39.944" v="1" actId="478"/>
          <ac:spMkLst>
            <pc:docMk/>
            <pc:sldMk cId="3131947769" sldId="442"/>
            <ac:spMk id="3" creationId="{F9410B78-EB7C-41DC-ADA2-C2033CB4020E}"/>
          </ac:spMkLst>
        </pc:spChg>
        <pc:spChg chg="add del mod">
          <ac:chgData name="Egle Kalasnikovaite" userId="062d4a7a-f393-4074-bf4e-7a7e70ec959d" providerId="ADAL" clId="{2E4FD718-CAE7-4E9E-ABF2-B8B0A8E36B7F}" dt="2022-02-11T12:20:22.474" v="71" actId="478"/>
          <ac:spMkLst>
            <pc:docMk/>
            <pc:sldMk cId="3131947769" sldId="442"/>
            <ac:spMk id="4" creationId="{355848C6-8EBA-408B-A2C9-31A139DF02F1}"/>
          </ac:spMkLst>
        </pc:spChg>
        <pc:spChg chg="add del mod">
          <ac:chgData name="Egle Kalasnikovaite" userId="062d4a7a-f393-4074-bf4e-7a7e70ec959d" providerId="ADAL" clId="{2E4FD718-CAE7-4E9E-ABF2-B8B0A8E36B7F}" dt="2022-02-11T12:20:26.543" v="73" actId="478"/>
          <ac:spMkLst>
            <pc:docMk/>
            <pc:sldMk cId="3131947769" sldId="442"/>
            <ac:spMk id="5" creationId="{06827F13-2CEE-428E-8BFD-8B5D75535CF4}"/>
          </ac:spMkLst>
        </pc:spChg>
        <pc:spChg chg="mod">
          <ac:chgData name="Egle Kalasnikovaite" userId="062d4a7a-f393-4074-bf4e-7a7e70ec959d" providerId="ADAL" clId="{2E4FD718-CAE7-4E9E-ABF2-B8B0A8E36B7F}" dt="2022-02-11T12:12:40.790" v="2"/>
          <ac:spMkLst>
            <pc:docMk/>
            <pc:sldMk cId="3131947769" sldId="442"/>
            <ac:spMk id="7" creationId="{17B26115-6C85-4A33-94AF-B82BDB62ED39}"/>
          </ac:spMkLst>
        </pc:spChg>
        <pc:spChg chg="mod">
          <ac:chgData name="Egle Kalasnikovaite" userId="062d4a7a-f393-4074-bf4e-7a7e70ec959d" providerId="ADAL" clId="{2E4FD718-CAE7-4E9E-ABF2-B8B0A8E36B7F}" dt="2022-02-11T12:12:40.790" v="2"/>
          <ac:spMkLst>
            <pc:docMk/>
            <pc:sldMk cId="3131947769" sldId="442"/>
            <ac:spMk id="8" creationId="{1489A93D-76FA-4FFC-B26A-59406C1EFC22}"/>
          </ac:spMkLst>
        </pc:spChg>
        <pc:spChg chg="add del mod">
          <ac:chgData name="Egle Kalasnikovaite" userId="062d4a7a-f393-4074-bf4e-7a7e70ec959d" providerId="ADAL" clId="{2E4FD718-CAE7-4E9E-ABF2-B8B0A8E36B7F}" dt="2022-02-11T12:19:55.271" v="65" actId="478"/>
          <ac:spMkLst>
            <pc:docMk/>
            <pc:sldMk cId="3131947769" sldId="442"/>
            <ac:spMk id="9" creationId="{4E9A4AD0-1C21-4D04-8647-8DD552932047}"/>
          </ac:spMkLst>
        </pc:spChg>
        <pc:spChg chg="add del mod">
          <ac:chgData name="Egle Kalasnikovaite" userId="062d4a7a-f393-4074-bf4e-7a7e70ec959d" providerId="ADAL" clId="{2E4FD718-CAE7-4E9E-ABF2-B8B0A8E36B7F}" dt="2022-02-11T12:20:04.973" v="68" actId="478"/>
          <ac:spMkLst>
            <pc:docMk/>
            <pc:sldMk cId="3131947769" sldId="442"/>
            <ac:spMk id="10" creationId="{D42399C0-800D-4966-8F75-B3D9B2F60670}"/>
          </ac:spMkLst>
        </pc:spChg>
        <pc:spChg chg="add mod">
          <ac:chgData name="Egle Kalasnikovaite" userId="062d4a7a-f393-4074-bf4e-7a7e70ec959d" providerId="ADAL" clId="{2E4FD718-CAE7-4E9E-ABF2-B8B0A8E36B7F}" dt="2022-02-11T12:58:35.313" v="859" actId="1076"/>
          <ac:spMkLst>
            <pc:docMk/>
            <pc:sldMk cId="3131947769" sldId="442"/>
            <ac:spMk id="11" creationId="{930FB29F-EEE5-416A-9EEC-72665D08E61C}"/>
          </ac:spMkLst>
        </pc:spChg>
        <pc:spChg chg="add mod">
          <ac:chgData name="Egle Kalasnikovaite" userId="062d4a7a-f393-4074-bf4e-7a7e70ec959d" providerId="ADAL" clId="{2E4FD718-CAE7-4E9E-ABF2-B8B0A8E36B7F}" dt="2022-02-11T12:58:35.313" v="859" actId="1076"/>
          <ac:spMkLst>
            <pc:docMk/>
            <pc:sldMk cId="3131947769" sldId="442"/>
            <ac:spMk id="12" creationId="{2A476A9C-E995-480E-8E94-35DA286ECA22}"/>
          </ac:spMkLst>
        </pc:spChg>
        <pc:spChg chg="mod">
          <ac:chgData name="Egle Kalasnikovaite" userId="062d4a7a-f393-4074-bf4e-7a7e70ec959d" providerId="ADAL" clId="{2E4FD718-CAE7-4E9E-ABF2-B8B0A8E36B7F}" dt="2022-02-11T12:12:40.790" v="2"/>
          <ac:spMkLst>
            <pc:docMk/>
            <pc:sldMk cId="3131947769" sldId="442"/>
            <ac:spMk id="14" creationId="{E42A5B84-AE5C-4585-B8EF-E6B31FC6462E}"/>
          </ac:spMkLst>
        </pc:spChg>
        <pc:spChg chg="mod">
          <ac:chgData name="Egle Kalasnikovaite" userId="062d4a7a-f393-4074-bf4e-7a7e70ec959d" providerId="ADAL" clId="{2E4FD718-CAE7-4E9E-ABF2-B8B0A8E36B7F}" dt="2022-02-11T12:22:30.049" v="138" actId="207"/>
          <ac:spMkLst>
            <pc:docMk/>
            <pc:sldMk cId="3131947769" sldId="442"/>
            <ac:spMk id="15" creationId="{AA16E7A9-E674-486E-B1A1-25482019E52C}"/>
          </ac:spMkLst>
        </pc:spChg>
        <pc:spChg chg="add del mod">
          <ac:chgData name="Egle Kalasnikovaite" userId="062d4a7a-f393-4074-bf4e-7a7e70ec959d" providerId="ADAL" clId="{2E4FD718-CAE7-4E9E-ABF2-B8B0A8E36B7F}" dt="2022-02-11T12:19:51.177" v="62" actId="478"/>
          <ac:spMkLst>
            <pc:docMk/>
            <pc:sldMk cId="3131947769" sldId="442"/>
            <ac:spMk id="16" creationId="{7156E1EC-1A45-4556-AFD2-1BA363466A49}"/>
          </ac:spMkLst>
        </pc:spChg>
        <pc:spChg chg="add del mod">
          <ac:chgData name="Egle Kalasnikovaite" userId="062d4a7a-f393-4074-bf4e-7a7e70ec959d" providerId="ADAL" clId="{2E4FD718-CAE7-4E9E-ABF2-B8B0A8E36B7F}" dt="2022-02-11T12:19:51.974" v="63" actId="478"/>
          <ac:spMkLst>
            <pc:docMk/>
            <pc:sldMk cId="3131947769" sldId="442"/>
            <ac:spMk id="17" creationId="{3EB337A8-3E8B-4CA0-8FE3-F01A84B4DF2E}"/>
          </ac:spMkLst>
        </pc:spChg>
        <pc:spChg chg="add mod">
          <ac:chgData name="Egle Kalasnikovaite" userId="062d4a7a-f393-4074-bf4e-7a7e70ec959d" providerId="ADAL" clId="{2E4FD718-CAE7-4E9E-ABF2-B8B0A8E36B7F}" dt="2022-02-11T13:11:17.623" v="924" actId="207"/>
          <ac:spMkLst>
            <pc:docMk/>
            <pc:sldMk cId="3131947769" sldId="442"/>
            <ac:spMk id="18" creationId="{486AEF5D-30F6-4F3A-9A0F-56A8CF84CCF5}"/>
          </ac:spMkLst>
        </pc:spChg>
        <pc:grpChg chg="add del mod">
          <ac:chgData name="Egle Kalasnikovaite" userId="062d4a7a-f393-4074-bf4e-7a7e70ec959d" providerId="ADAL" clId="{2E4FD718-CAE7-4E9E-ABF2-B8B0A8E36B7F}" dt="2022-02-11T12:20:25.236" v="72" actId="478"/>
          <ac:grpSpMkLst>
            <pc:docMk/>
            <pc:sldMk cId="3131947769" sldId="442"/>
            <ac:grpSpMk id="6" creationId="{FEBCE278-1C10-43A9-95EF-5D19CC8894BA}"/>
          </ac:grpSpMkLst>
        </pc:grpChg>
        <pc:grpChg chg="add mod">
          <ac:chgData name="Egle Kalasnikovaite" userId="062d4a7a-f393-4074-bf4e-7a7e70ec959d" providerId="ADAL" clId="{2E4FD718-CAE7-4E9E-ABF2-B8B0A8E36B7F}" dt="2022-02-11T12:58:46.926" v="860" actId="1076"/>
          <ac:grpSpMkLst>
            <pc:docMk/>
            <pc:sldMk cId="3131947769" sldId="442"/>
            <ac:grpSpMk id="13" creationId="{6FF6DCE5-6046-40BF-B824-72ECC9EF7F29}"/>
          </ac:grpSpMkLst>
        </pc:grpChg>
      </pc:sldChg>
      <pc:sldChg chg="addSp delSp modSp add del mod">
        <pc:chgData name="Egle Kalasnikovaite" userId="062d4a7a-f393-4074-bf4e-7a7e70ec959d" providerId="ADAL" clId="{2E4FD718-CAE7-4E9E-ABF2-B8B0A8E36B7F}" dt="2022-02-11T13:26:32.126" v="1111" actId="47"/>
        <pc:sldMkLst>
          <pc:docMk/>
          <pc:sldMk cId="2071843993" sldId="443"/>
        </pc:sldMkLst>
        <pc:spChg chg="mod">
          <ac:chgData name="Egle Kalasnikovaite" userId="062d4a7a-f393-4074-bf4e-7a7e70ec959d" providerId="ADAL" clId="{2E4FD718-CAE7-4E9E-ABF2-B8B0A8E36B7F}" dt="2022-02-11T12:23:59.708" v="153" actId="20577"/>
          <ac:spMkLst>
            <pc:docMk/>
            <pc:sldMk cId="2071843993" sldId="443"/>
            <ac:spMk id="2" creationId="{E350CF06-F67F-46A1-A04D-A878CEED134A}"/>
          </ac:spMkLst>
        </pc:spChg>
        <pc:spChg chg="add del mod">
          <ac:chgData name="Egle Kalasnikovaite" userId="062d4a7a-f393-4074-bf4e-7a7e70ec959d" providerId="ADAL" clId="{2E4FD718-CAE7-4E9E-ABF2-B8B0A8E36B7F}" dt="2022-02-11T12:39:42.800" v="620" actId="478"/>
          <ac:spMkLst>
            <pc:docMk/>
            <pc:sldMk cId="2071843993" sldId="443"/>
            <ac:spMk id="9" creationId="{75771CFB-B320-47D3-8700-7769350AB2B1}"/>
          </ac:spMkLst>
        </pc:spChg>
        <pc:spChg chg="add mod">
          <ac:chgData name="Egle Kalasnikovaite" userId="062d4a7a-f393-4074-bf4e-7a7e70ec959d" providerId="ADAL" clId="{2E4FD718-CAE7-4E9E-ABF2-B8B0A8E36B7F}" dt="2022-02-11T12:57:59.940" v="855" actId="14100"/>
          <ac:spMkLst>
            <pc:docMk/>
            <pc:sldMk cId="2071843993" sldId="443"/>
            <ac:spMk id="10" creationId="{3BFF1C6D-9984-4AE9-BEF4-8380CE15ECBA}"/>
          </ac:spMkLst>
        </pc:spChg>
        <pc:spChg chg="mod">
          <ac:chgData name="Egle Kalasnikovaite" userId="062d4a7a-f393-4074-bf4e-7a7e70ec959d" providerId="ADAL" clId="{2E4FD718-CAE7-4E9E-ABF2-B8B0A8E36B7F}" dt="2022-02-11T12:57:59.940" v="855" actId="14100"/>
          <ac:spMkLst>
            <pc:docMk/>
            <pc:sldMk cId="2071843993" sldId="443"/>
            <ac:spMk id="11" creationId="{930FB29F-EEE5-416A-9EEC-72665D08E61C}"/>
          </ac:spMkLst>
        </pc:spChg>
        <pc:spChg chg="mod">
          <ac:chgData name="Egle Kalasnikovaite" userId="062d4a7a-f393-4074-bf4e-7a7e70ec959d" providerId="ADAL" clId="{2E4FD718-CAE7-4E9E-ABF2-B8B0A8E36B7F}" dt="2022-02-11T12:57:59.940" v="855" actId="14100"/>
          <ac:spMkLst>
            <pc:docMk/>
            <pc:sldMk cId="2071843993" sldId="443"/>
            <ac:spMk id="12" creationId="{2A476A9C-E995-480E-8E94-35DA286ECA22}"/>
          </ac:spMkLst>
        </pc:spChg>
        <pc:spChg chg="mod">
          <ac:chgData name="Egle Kalasnikovaite" userId="062d4a7a-f393-4074-bf4e-7a7e70ec959d" providerId="ADAL" clId="{2E4FD718-CAE7-4E9E-ABF2-B8B0A8E36B7F}" dt="2022-02-11T12:28:02.095" v="294" actId="20577"/>
          <ac:spMkLst>
            <pc:docMk/>
            <pc:sldMk cId="2071843993" sldId="443"/>
            <ac:spMk id="15" creationId="{AA16E7A9-E674-486E-B1A1-25482019E52C}"/>
          </ac:spMkLst>
        </pc:spChg>
        <pc:spChg chg="mod">
          <ac:chgData name="Egle Kalasnikovaite" userId="062d4a7a-f393-4074-bf4e-7a7e70ec959d" providerId="ADAL" clId="{2E4FD718-CAE7-4E9E-ABF2-B8B0A8E36B7F}" dt="2022-02-11T12:24:24.515" v="184"/>
          <ac:spMkLst>
            <pc:docMk/>
            <pc:sldMk cId="2071843993" sldId="443"/>
            <ac:spMk id="17" creationId="{6CF1A7A2-5780-411F-AE03-9E3640A8AA73}"/>
          </ac:spMkLst>
        </pc:spChg>
        <pc:spChg chg="mod">
          <ac:chgData name="Egle Kalasnikovaite" userId="062d4a7a-f393-4074-bf4e-7a7e70ec959d" providerId="ADAL" clId="{2E4FD718-CAE7-4E9E-ABF2-B8B0A8E36B7F}" dt="2022-02-11T12:35:58.291" v="571" actId="6549"/>
          <ac:spMkLst>
            <pc:docMk/>
            <pc:sldMk cId="2071843993" sldId="443"/>
            <ac:spMk id="18" creationId="{486AEF5D-30F6-4F3A-9A0F-56A8CF84CCF5}"/>
          </ac:spMkLst>
        </pc:spChg>
        <pc:spChg chg="mod">
          <ac:chgData name="Egle Kalasnikovaite" userId="062d4a7a-f393-4074-bf4e-7a7e70ec959d" providerId="ADAL" clId="{2E4FD718-CAE7-4E9E-ABF2-B8B0A8E36B7F}" dt="2022-02-11T12:28:04.750" v="296" actId="20577"/>
          <ac:spMkLst>
            <pc:docMk/>
            <pc:sldMk cId="2071843993" sldId="443"/>
            <ac:spMk id="19" creationId="{F18FD6A4-7D23-4D30-88CE-777150157672}"/>
          </ac:spMkLst>
        </pc:spChg>
        <pc:spChg chg="add mod">
          <ac:chgData name="Egle Kalasnikovaite" userId="062d4a7a-f393-4074-bf4e-7a7e70ec959d" providerId="ADAL" clId="{2E4FD718-CAE7-4E9E-ABF2-B8B0A8E36B7F}" dt="2022-02-11T12:37:13.527" v="599" actId="113"/>
          <ac:spMkLst>
            <pc:docMk/>
            <pc:sldMk cId="2071843993" sldId="443"/>
            <ac:spMk id="20" creationId="{ABA5CB01-042D-4BB2-9529-C0A74F7B0A56}"/>
          </ac:spMkLst>
        </pc:spChg>
        <pc:grpChg chg="mod">
          <ac:chgData name="Egle Kalasnikovaite" userId="062d4a7a-f393-4074-bf4e-7a7e70ec959d" providerId="ADAL" clId="{2E4FD718-CAE7-4E9E-ABF2-B8B0A8E36B7F}" dt="2022-02-11T12:58:59.378" v="861" actId="1076"/>
          <ac:grpSpMkLst>
            <pc:docMk/>
            <pc:sldMk cId="2071843993" sldId="443"/>
            <ac:grpSpMk id="13" creationId="{6FF6DCE5-6046-40BF-B824-72ECC9EF7F29}"/>
          </ac:grpSpMkLst>
        </pc:grpChg>
        <pc:grpChg chg="add mod">
          <ac:chgData name="Egle Kalasnikovaite" userId="062d4a7a-f393-4074-bf4e-7a7e70ec959d" providerId="ADAL" clId="{2E4FD718-CAE7-4E9E-ABF2-B8B0A8E36B7F}" dt="2022-02-11T12:59:15.002" v="862" actId="1076"/>
          <ac:grpSpMkLst>
            <pc:docMk/>
            <pc:sldMk cId="2071843993" sldId="443"/>
            <ac:grpSpMk id="16" creationId="{477EC1CB-AB44-4B30-A2F5-1E29ED845444}"/>
          </ac:grpSpMkLst>
        </pc:grpChg>
      </pc:sldChg>
      <pc:sldChg chg="addSp delSp modSp add del mod">
        <pc:chgData name="Egle Kalasnikovaite" userId="062d4a7a-f393-4074-bf4e-7a7e70ec959d" providerId="ADAL" clId="{2E4FD718-CAE7-4E9E-ABF2-B8B0A8E36B7F}" dt="2022-02-11T13:50:20.375" v="1471" actId="47"/>
        <pc:sldMkLst>
          <pc:docMk/>
          <pc:sldMk cId="209253343" sldId="444"/>
        </pc:sldMkLst>
        <pc:spChg chg="mod">
          <ac:chgData name="Egle Kalasnikovaite" userId="062d4a7a-f393-4074-bf4e-7a7e70ec959d" providerId="ADAL" clId="{2E4FD718-CAE7-4E9E-ABF2-B8B0A8E36B7F}" dt="2022-02-11T12:43:02.568" v="674" actId="20577"/>
          <ac:spMkLst>
            <pc:docMk/>
            <pc:sldMk cId="209253343" sldId="444"/>
            <ac:spMk id="2" creationId="{E350CF06-F67F-46A1-A04D-A878CEED134A}"/>
          </ac:spMkLst>
        </pc:spChg>
        <pc:spChg chg="del">
          <ac:chgData name="Egle Kalasnikovaite" userId="062d4a7a-f393-4074-bf4e-7a7e70ec959d" providerId="ADAL" clId="{2E4FD718-CAE7-4E9E-ABF2-B8B0A8E36B7F}" dt="2022-02-11T12:42:11.397" v="651" actId="478"/>
          <ac:spMkLst>
            <pc:docMk/>
            <pc:sldMk cId="209253343" sldId="444"/>
            <ac:spMk id="10" creationId="{3BFF1C6D-9984-4AE9-BEF4-8380CE15ECBA}"/>
          </ac:spMkLst>
        </pc:spChg>
        <pc:spChg chg="del mod">
          <ac:chgData name="Egle Kalasnikovaite" userId="062d4a7a-f393-4074-bf4e-7a7e70ec959d" providerId="ADAL" clId="{2E4FD718-CAE7-4E9E-ABF2-B8B0A8E36B7F}" dt="2022-02-11T13:03:22.486" v="874" actId="478"/>
          <ac:spMkLst>
            <pc:docMk/>
            <pc:sldMk cId="209253343" sldId="444"/>
            <ac:spMk id="11" creationId="{930FB29F-EEE5-416A-9EEC-72665D08E61C}"/>
          </ac:spMkLst>
        </pc:spChg>
        <pc:spChg chg="mod">
          <ac:chgData name="Egle Kalasnikovaite" userId="062d4a7a-f393-4074-bf4e-7a7e70ec959d" providerId="ADAL" clId="{2E4FD718-CAE7-4E9E-ABF2-B8B0A8E36B7F}" dt="2022-02-11T13:03:43.422" v="903" actId="1035"/>
          <ac:spMkLst>
            <pc:docMk/>
            <pc:sldMk cId="209253343" sldId="444"/>
            <ac:spMk id="12" creationId="{2A476A9C-E995-480E-8E94-35DA286ECA22}"/>
          </ac:spMkLst>
        </pc:spChg>
        <pc:spChg chg="mod">
          <ac:chgData name="Egle Kalasnikovaite" userId="062d4a7a-f393-4074-bf4e-7a7e70ec959d" providerId="ADAL" clId="{2E4FD718-CAE7-4E9E-ABF2-B8B0A8E36B7F}" dt="2022-02-11T12:48:42.747" v="744" actId="20577"/>
          <ac:spMkLst>
            <pc:docMk/>
            <pc:sldMk cId="209253343" sldId="444"/>
            <ac:spMk id="15" creationId="{AA16E7A9-E674-486E-B1A1-25482019E52C}"/>
          </ac:spMkLst>
        </pc:spChg>
        <pc:spChg chg="mod">
          <ac:chgData name="Egle Kalasnikovaite" userId="062d4a7a-f393-4074-bf4e-7a7e70ec959d" providerId="ADAL" clId="{2E4FD718-CAE7-4E9E-ABF2-B8B0A8E36B7F}" dt="2022-02-11T12:55:39.373" v="853" actId="14100"/>
          <ac:spMkLst>
            <pc:docMk/>
            <pc:sldMk cId="209253343" sldId="444"/>
            <ac:spMk id="18" creationId="{486AEF5D-30F6-4F3A-9A0F-56A8CF84CCF5}"/>
          </ac:spMkLst>
        </pc:spChg>
        <pc:spChg chg="del mod">
          <ac:chgData name="Egle Kalasnikovaite" userId="062d4a7a-f393-4074-bf4e-7a7e70ec959d" providerId="ADAL" clId="{2E4FD718-CAE7-4E9E-ABF2-B8B0A8E36B7F}" dt="2022-02-11T12:42:14.302" v="653" actId="478"/>
          <ac:spMkLst>
            <pc:docMk/>
            <pc:sldMk cId="209253343" sldId="444"/>
            <ac:spMk id="20" creationId="{ABA5CB01-042D-4BB2-9529-C0A74F7B0A56}"/>
          </ac:spMkLst>
        </pc:spChg>
        <pc:spChg chg="add del mod">
          <ac:chgData name="Egle Kalasnikovaite" userId="062d4a7a-f393-4074-bf4e-7a7e70ec959d" providerId="ADAL" clId="{2E4FD718-CAE7-4E9E-ABF2-B8B0A8E36B7F}" dt="2022-02-11T12:41:37.433" v="644"/>
          <ac:spMkLst>
            <pc:docMk/>
            <pc:sldMk cId="209253343" sldId="444"/>
            <ac:spMk id="21" creationId="{8A640EC4-C330-4964-9E97-B609335F0954}"/>
          </ac:spMkLst>
        </pc:spChg>
        <pc:spChg chg="add del mod">
          <ac:chgData name="Egle Kalasnikovaite" userId="062d4a7a-f393-4074-bf4e-7a7e70ec959d" providerId="ADAL" clId="{2E4FD718-CAE7-4E9E-ABF2-B8B0A8E36B7F}" dt="2022-02-11T12:41:37.433" v="644"/>
          <ac:spMkLst>
            <pc:docMk/>
            <pc:sldMk cId="209253343" sldId="444"/>
            <ac:spMk id="22" creationId="{094CA326-B1FA-4CCB-99E3-1F73E4386AFD}"/>
          </ac:spMkLst>
        </pc:spChg>
        <pc:spChg chg="mod">
          <ac:chgData name="Egle Kalasnikovaite" userId="062d4a7a-f393-4074-bf4e-7a7e70ec959d" providerId="ADAL" clId="{2E4FD718-CAE7-4E9E-ABF2-B8B0A8E36B7F}" dt="2022-02-11T12:41:25.115" v="641"/>
          <ac:spMkLst>
            <pc:docMk/>
            <pc:sldMk cId="209253343" sldId="444"/>
            <ac:spMk id="24" creationId="{20F3CF0A-BE98-49DA-8DF5-4A8635666CCD}"/>
          </ac:spMkLst>
        </pc:spChg>
        <pc:spChg chg="mod">
          <ac:chgData name="Egle Kalasnikovaite" userId="062d4a7a-f393-4074-bf4e-7a7e70ec959d" providerId="ADAL" clId="{2E4FD718-CAE7-4E9E-ABF2-B8B0A8E36B7F}" dt="2022-02-11T12:41:25.115" v="641"/>
          <ac:spMkLst>
            <pc:docMk/>
            <pc:sldMk cId="209253343" sldId="444"/>
            <ac:spMk id="25" creationId="{8ACA97B5-B4A2-41EE-A300-9455ACFFD7CB}"/>
          </ac:spMkLst>
        </pc:spChg>
        <pc:spChg chg="add del mod">
          <ac:chgData name="Egle Kalasnikovaite" userId="062d4a7a-f393-4074-bf4e-7a7e70ec959d" providerId="ADAL" clId="{2E4FD718-CAE7-4E9E-ABF2-B8B0A8E36B7F}" dt="2022-02-11T12:41:37.433" v="644"/>
          <ac:spMkLst>
            <pc:docMk/>
            <pc:sldMk cId="209253343" sldId="444"/>
            <ac:spMk id="26" creationId="{E8C1CD1D-6EE3-4947-9300-9E4D7216E586}"/>
          </ac:spMkLst>
        </pc:spChg>
        <pc:spChg chg="add del mod">
          <ac:chgData name="Egle Kalasnikovaite" userId="062d4a7a-f393-4074-bf4e-7a7e70ec959d" providerId="ADAL" clId="{2E4FD718-CAE7-4E9E-ABF2-B8B0A8E36B7F}" dt="2022-02-11T12:42:03.777" v="650"/>
          <ac:spMkLst>
            <pc:docMk/>
            <pc:sldMk cId="209253343" sldId="444"/>
            <ac:spMk id="27" creationId="{9F26BBBD-3F9C-46DF-9CD0-23E4951CAA8B}"/>
          </ac:spMkLst>
        </pc:spChg>
        <pc:spChg chg="add del mod">
          <ac:chgData name="Egle Kalasnikovaite" userId="062d4a7a-f393-4074-bf4e-7a7e70ec959d" providerId="ADAL" clId="{2E4FD718-CAE7-4E9E-ABF2-B8B0A8E36B7F}" dt="2022-02-11T12:42:03.777" v="650"/>
          <ac:spMkLst>
            <pc:docMk/>
            <pc:sldMk cId="209253343" sldId="444"/>
            <ac:spMk id="28" creationId="{93A5E7ED-CC7B-4241-9589-58176322A2D6}"/>
          </ac:spMkLst>
        </pc:spChg>
        <pc:spChg chg="mod">
          <ac:chgData name="Egle Kalasnikovaite" userId="062d4a7a-f393-4074-bf4e-7a7e70ec959d" providerId="ADAL" clId="{2E4FD718-CAE7-4E9E-ABF2-B8B0A8E36B7F}" dt="2022-02-11T12:42:01.962" v="649"/>
          <ac:spMkLst>
            <pc:docMk/>
            <pc:sldMk cId="209253343" sldId="444"/>
            <ac:spMk id="30" creationId="{768DDD70-2DE1-4678-ADAE-194CE4AE5691}"/>
          </ac:spMkLst>
        </pc:spChg>
        <pc:spChg chg="mod">
          <ac:chgData name="Egle Kalasnikovaite" userId="062d4a7a-f393-4074-bf4e-7a7e70ec959d" providerId="ADAL" clId="{2E4FD718-CAE7-4E9E-ABF2-B8B0A8E36B7F}" dt="2022-02-11T12:42:01.962" v="649"/>
          <ac:spMkLst>
            <pc:docMk/>
            <pc:sldMk cId="209253343" sldId="444"/>
            <ac:spMk id="31" creationId="{DA32089C-EE86-490E-B327-53411DA90C05}"/>
          </ac:spMkLst>
        </pc:spChg>
        <pc:spChg chg="add del mod">
          <ac:chgData name="Egle Kalasnikovaite" userId="062d4a7a-f393-4074-bf4e-7a7e70ec959d" providerId="ADAL" clId="{2E4FD718-CAE7-4E9E-ABF2-B8B0A8E36B7F}" dt="2022-02-11T12:53:43.222" v="756" actId="478"/>
          <ac:spMkLst>
            <pc:docMk/>
            <pc:sldMk cId="209253343" sldId="444"/>
            <ac:spMk id="32" creationId="{5B6C5B2A-9580-4AEA-ACEB-791CCF26882F}"/>
          </ac:spMkLst>
        </pc:spChg>
        <pc:spChg chg="add mod">
          <ac:chgData name="Egle Kalasnikovaite" userId="062d4a7a-f393-4074-bf4e-7a7e70ec959d" providerId="ADAL" clId="{2E4FD718-CAE7-4E9E-ABF2-B8B0A8E36B7F}" dt="2022-02-11T13:03:43.422" v="903" actId="1035"/>
          <ac:spMkLst>
            <pc:docMk/>
            <pc:sldMk cId="209253343" sldId="444"/>
            <ac:spMk id="33" creationId="{CB6C5C18-549F-4AB1-ABC9-FEE125152494}"/>
          </ac:spMkLst>
        </pc:spChg>
        <pc:spChg chg="mod">
          <ac:chgData name="Egle Kalasnikovaite" userId="062d4a7a-f393-4074-bf4e-7a7e70ec959d" providerId="ADAL" clId="{2E4FD718-CAE7-4E9E-ABF2-B8B0A8E36B7F}" dt="2022-02-11T12:42:20.513" v="654"/>
          <ac:spMkLst>
            <pc:docMk/>
            <pc:sldMk cId="209253343" sldId="444"/>
            <ac:spMk id="35" creationId="{EFCB7BC9-EA83-4CF3-BB53-2F09B9A88BED}"/>
          </ac:spMkLst>
        </pc:spChg>
        <pc:spChg chg="mod">
          <ac:chgData name="Egle Kalasnikovaite" userId="062d4a7a-f393-4074-bf4e-7a7e70ec959d" providerId="ADAL" clId="{2E4FD718-CAE7-4E9E-ABF2-B8B0A8E36B7F}" dt="2022-02-11T12:48:45.249" v="746" actId="20577"/>
          <ac:spMkLst>
            <pc:docMk/>
            <pc:sldMk cId="209253343" sldId="444"/>
            <ac:spMk id="36" creationId="{E8D72F5E-511D-4DDA-8EB8-135528A20D5A}"/>
          </ac:spMkLst>
        </pc:spChg>
        <pc:spChg chg="add mod">
          <ac:chgData name="Egle Kalasnikovaite" userId="062d4a7a-f393-4074-bf4e-7a7e70ec959d" providerId="ADAL" clId="{2E4FD718-CAE7-4E9E-ABF2-B8B0A8E36B7F}" dt="2022-02-11T13:27:14.461" v="1116"/>
          <ac:spMkLst>
            <pc:docMk/>
            <pc:sldMk cId="209253343" sldId="444"/>
            <ac:spMk id="37" creationId="{C74B8469-6B4D-40AE-9FF8-E931DEDE5EFF}"/>
          </ac:spMkLst>
        </pc:spChg>
        <pc:spChg chg="add del mod">
          <ac:chgData name="Egle Kalasnikovaite" userId="062d4a7a-f393-4074-bf4e-7a7e70ec959d" providerId="ADAL" clId="{2E4FD718-CAE7-4E9E-ABF2-B8B0A8E36B7F}" dt="2022-02-11T12:55:23.235" v="852" actId="478"/>
          <ac:spMkLst>
            <pc:docMk/>
            <pc:sldMk cId="209253343" sldId="444"/>
            <ac:spMk id="38" creationId="{2A1F5391-4B2F-4FD4-B769-2D3AC2675270}"/>
          </ac:spMkLst>
        </pc:spChg>
        <pc:spChg chg="add mod">
          <ac:chgData name="Egle Kalasnikovaite" userId="062d4a7a-f393-4074-bf4e-7a7e70ec959d" providerId="ADAL" clId="{2E4FD718-CAE7-4E9E-ABF2-B8B0A8E36B7F}" dt="2022-02-11T13:03:43.422" v="903" actId="1035"/>
          <ac:spMkLst>
            <pc:docMk/>
            <pc:sldMk cId="209253343" sldId="444"/>
            <ac:spMk id="39" creationId="{E4B6382C-1478-43D6-921B-96F2A843BB7A}"/>
          </ac:spMkLst>
        </pc:spChg>
        <pc:spChg chg="mod">
          <ac:chgData name="Egle Kalasnikovaite" userId="062d4a7a-f393-4074-bf4e-7a7e70ec959d" providerId="ADAL" clId="{2E4FD718-CAE7-4E9E-ABF2-B8B0A8E36B7F}" dt="2022-02-11T12:43:42.049" v="675"/>
          <ac:spMkLst>
            <pc:docMk/>
            <pc:sldMk cId="209253343" sldId="444"/>
            <ac:spMk id="41" creationId="{272A1043-51C8-4EF9-9294-F36E6DBA8520}"/>
          </ac:spMkLst>
        </pc:spChg>
        <pc:spChg chg="mod">
          <ac:chgData name="Egle Kalasnikovaite" userId="062d4a7a-f393-4074-bf4e-7a7e70ec959d" providerId="ADAL" clId="{2E4FD718-CAE7-4E9E-ABF2-B8B0A8E36B7F}" dt="2022-02-11T12:48:47.860" v="748" actId="20577"/>
          <ac:spMkLst>
            <pc:docMk/>
            <pc:sldMk cId="209253343" sldId="444"/>
            <ac:spMk id="42" creationId="{A5D66E96-27FF-415E-BD07-5E67DA89029C}"/>
          </ac:spMkLst>
        </pc:spChg>
        <pc:spChg chg="add mod">
          <ac:chgData name="Egle Kalasnikovaite" userId="062d4a7a-f393-4074-bf4e-7a7e70ec959d" providerId="ADAL" clId="{2E4FD718-CAE7-4E9E-ABF2-B8B0A8E36B7F}" dt="2022-02-11T12:55:39.373" v="853" actId="14100"/>
          <ac:spMkLst>
            <pc:docMk/>
            <pc:sldMk cId="209253343" sldId="444"/>
            <ac:spMk id="43" creationId="{57F6E1ED-4727-40EC-8887-86E88EE89ECE}"/>
          </ac:spMkLst>
        </pc:spChg>
        <pc:grpChg chg="mod">
          <ac:chgData name="Egle Kalasnikovaite" userId="062d4a7a-f393-4074-bf4e-7a7e70ec959d" providerId="ADAL" clId="{2E4FD718-CAE7-4E9E-ABF2-B8B0A8E36B7F}" dt="2022-02-11T13:03:33.472" v="890" actId="1035"/>
          <ac:grpSpMkLst>
            <pc:docMk/>
            <pc:sldMk cId="209253343" sldId="444"/>
            <ac:grpSpMk id="13" creationId="{6FF6DCE5-6046-40BF-B824-72ECC9EF7F29}"/>
          </ac:grpSpMkLst>
        </pc:grpChg>
        <pc:grpChg chg="del">
          <ac:chgData name="Egle Kalasnikovaite" userId="062d4a7a-f393-4074-bf4e-7a7e70ec959d" providerId="ADAL" clId="{2E4FD718-CAE7-4E9E-ABF2-B8B0A8E36B7F}" dt="2022-02-11T12:42:11.397" v="651" actId="478"/>
          <ac:grpSpMkLst>
            <pc:docMk/>
            <pc:sldMk cId="209253343" sldId="444"/>
            <ac:grpSpMk id="16" creationId="{477EC1CB-AB44-4B30-A2F5-1E29ED845444}"/>
          </ac:grpSpMkLst>
        </pc:grpChg>
        <pc:grpChg chg="add del mod">
          <ac:chgData name="Egle Kalasnikovaite" userId="062d4a7a-f393-4074-bf4e-7a7e70ec959d" providerId="ADAL" clId="{2E4FD718-CAE7-4E9E-ABF2-B8B0A8E36B7F}" dt="2022-02-11T12:41:37.433" v="644"/>
          <ac:grpSpMkLst>
            <pc:docMk/>
            <pc:sldMk cId="209253343" sldId="444"/>
            <ac:grpSpMk id="23" creationId="{214EFBB4-9738-47DB-BA2B-F023F5FCF227}"/>
          </ac:grpSpMkLst>
        </pc:grpChg>
        <pc:grpChg chg="add del mod">
          <ac:chgData name="Egle Kalasnikovaite" userId="062d4a7a-f393-4074-bf4e-7a7e70ec959d" providerId="ADAL" clId="{2E4FD718-CAE7-4E9E-ABF2-B8B0A8E36B7F}" dt="2022-02-11T12:42:03.777" v="650"/>
          <ac:grpSpMkLst>
            <pc:docMk/>
            <pc:sldMk cId="209253343" sldId="444"/>
            <ac:grpSpMk id="29" creationId="{DF56B219-F0EA-4BC8-A39C-03FDC28A57F7}"/>
          </ac:grpSpMkLst>
        </pc:grpChg>
        <pc:grpChg chg="add mod">
          <ac:chgData name="Egle Kalasnikovaite" userId="062d4a7a-f393-4074-bf4e-7a7e70ec959d" providerId="ADAL" clId="{2E4FD718-CAE7-4E9E-ABF2-B8B0A8E36B7F}" dt="2022-02-11T13:03:33.472" v="890" actId="1035"/>
          <ac:grpSpMkLst>
            <pc:docMk/>
            <pc:sldMk cId="209253343" sldId="444"/>
            <ac:grpSpMk id="34" creationId="{D609BA43-417E-4757-B706-DD3ACEFBF4BE}"/>
          </ac:grpSpMkLst>
        </pc:grpChg>
        <pc:grpChg chg="add mod">
          <ac:chgData name="Egle Kalasnikovaite" userId="062d4a7a-f393-4074-bf4e-7a7e70ec959d" providerId="ADAL" clId="{2E4FD718-CAE7-4E9E-ABF2-B8B0A8E36B7F}" dt="2022-02-11T13:03:33.472" v="890" actId="1035"/>
          <ac:grpSpMkLst>
            <pc:docMk/>
            <pc:sldMk cId="209253343" sldId="444"/>
            <ac:grpSpMk id="40" creationId="{6529504E-9565-42F1-A711-5404468FA1B7}"/>
          </ac:grpSpMkLst>
        </pc:grpChg>
      </pc:sldChg>
      <pc:sldChg chg="addSp modSp add mod">
        <pc:chgData name="Egle Kalasnikovaite" userId="062d4a7a-f393-4074-bf4e-7a7e70ec959d" providerId="ADAL" clId="{2E4FD718-CAE7-4E9E-ABF2-B8B0A8E36B7F}" dt="2022-02-11T16:11:41.921" v="2204" actId="403"/>
        <pc:sldMkLst>
          <pc:docMk/>
          <pc:sldMk cId="1109741991" sldId="447"/>
        </pc:sldMkLst>
        <pc:spChg chg="mod">
          <ac:chgData name="Egle Kalasnikovaite" userId="062d4a7a-f393-4074-bf4e-7a7e70ec959d" providerId="ADAL" clId="{2E4FD718-CAE7-4E9E-ABF2-B8B0A8E36B7F}" dt="2022-02-11T14:56:43.950" v="1993" actId="404"/>
          <ac:spMkLst>
            <pc:docMk/>
            <pc:sldMk cId="1109741991" sldId="447"/>
            <ac:spMk id="2" creationId="{E350CF06-F67F-46A1-A04D-A878CEED134A}"/>
          </ac:spMkLst>
        </pc:spChg>
        <pc:spChg chg="mod">
          <ac:chgData name="Egle Kalasnikovaite" userId="062d4a7a-f393-4074-bf4e-7a7e70ec959d" providerId="ADAL" clId="{2E4FD718-CAE7-4E9E-ABF2-B8B0A8E36B7F}" dt="2022-02-11T13:25:49.887" v="1106" actId="14100"/>
          <ac:spMkLst>
            <pc:docMk/>
            <pc:sldMk cId="1109741991" sldId="447"/>
            <ac:spMk id="12" creationId="{2A476A9C-E995-480E-8E94-35DA286ECA22}"/>
          </ac:spMkLst>
        </pc:spChg>
        <pc:spChg chg="mod">
          <ac:chgData name="Egle Kalasnikovaite" userId="062d4a7a-f393-4074-bf4e-7a7e70ec959d" providerId="ADAL" clId="{2E4FD718-CAE7-4E9E-ABF2-B8B0A8E36B7F}" dt="2022-02-11T14:56:10.272" v="1991" actId="207"/>
          <ac:spMkLst>
            <pc:docMk/>
            <pc:sldMk cId="1109741991" sldId="447"/>
            <ac:spMk id="14" creationId="{E42A5B84-AE5C-4585-B8EF-E6B31FC6462E}"/>
          </ac:spMkLst>
        </pc:spChg>
        <pc:spChg chg="mod">
          <ac:chgData name="Egle Kalasnikovaite" userId="062d4a7a-f393-4074-bf4e-7a7e70ec959d" providerId="ADAL" clId="{2E4FD718-CAE7-4E9E-ABF2-B8B0A8E36B7F}" dt="2022-02-11T14:55:48.155" v="1987" actId="207"/>
          <ac:spMkLst>
            <pc:docMk/>
            <pc:sldMk cId="1109741991" sldId="447"/>
            <ac:spMk id="15" creationId="{AA16E7A9-E674-486E-B1A1-25482019E52C}"/>
          </ac:spMkLst>
        </pc:spChg>
        <pc:spChg chg="mod">
          <ac:chgData name="Egle Kalasnikovaite" userId="062d4a7a-f393-4074-bf4e-7a7e70ec959d" providerId="ADAL" clId="{2E4FD718-CAE7-4E9E-ABF2-B8B0A8E36B7F}" dt="2022-02-11T13:26:12.320" v="1109" actId="20577"/>
          <ac:spMkLst>
            <pc:docMk/>
            <pc:sldMk cId="1109741991" sldId="447"/>
            <ac:spMk id="18" creationId="{486AEF5D-30F6-4F3A-9A0F-56A8CF84CCF5}"/>
          </ac:spMkLst>
        </pc:spChg>
        <pc:spChg chg="add mod">
          <ac:chgData name="Egle Kalasnikovaite" userId="062d4a7a-f393-4074-bf4e-7a7e70ec959d" providerId="ADAL" clId="{2E4FD718-CAE7-4E9E-ABF2-B8B0A8E36B7F}" dt="2022-02-11T16:11:39.614" v="2203" actId="403"/>
          <ac:spMkLst>
            <pc:docMk/>
            <pc:sldMk cId="1109741991" sldId="447"/>
            <ac:spMk id="19" creationId="{A3D66BDC-30BA-41D7-A786-D9E0285E9759}"/>
          </ac:spMkLst>
        </pc:spChg>
        <pc:spChg chg="add mod">
          <ac:chgData name="Egle Kalasnikovaite" userId="062d4a7a-f393-4074-bf4e-7a7e70ec959d" providerId="ADAL" clId="{2E4FD718-CAE7-4E9E-ABF2-B8B0A8E36B7F}" dt="2022-02-11T16:11:41.921" v="2204" actId="403"/>
          <ac:spMkLst>
            <pc:docMk/>
            <pc:sldMk cId="1109741991" sldId="447"/>
            <ac:spMk id="20" creationId="{C52D139E-35BF-409C-9EFB-8F78FBE2A78E}"/>
          </ac:spMkLst>
        </pc:spChg>
        <pc:spChg chg="mod">
          <ac:chgData name="Egle Kalasnikovaite" userId="062d4a7a-f393-4074-bf4e-7a7e70ec959d" providerId="ADAL" clId="{2E4FD718-CAE7-4E9E-ABF2-B8B0A8E36B7F}" dt="2022-02-11T13:25:49.887" v="1106" actId="14100"/>
          <ac:spMkLst>
            <pc:docMk/>
            <pc:sldMk cId="1109741991" sldId="447"/>
            <ac:spMk id="33" creationId="{CB6C5C18-549F-4AB1-ABC9-FEE125152494}"/>
          </ac:spMkLst>
        </pc:spChg>
        <pc:spChg chg="mod">
          <ac:chgData name="Egle Kalasnikovaite" userId="062d4a7a-f393-4074-bf4e-7a7e70ec959d" providerId="ADAL" clId="{2E4FD718-CAE7-4E9E-ABF2-B8B0A8E36B7F}" dt="2022-02-11T14:55:53.002" v="1988" actId="207"/>
          <ac:spMkLst>
            <pc:docMk/>
            <pc:sldMk cId="1109741991" sldId="447"/>
            <ac:spMk id="36" creationId="{E8D72F5E-511D-4DDA-8EB8-135528A20D5A}"/>
          </ac:spMkLst>
        </pc:spChg>
        <pc:spChg chg="mod">
          <ac:chgData name="Egle Kalasnikovaite" userId="062d4a7a-f393-4074-bf4e-7a7e70ec959d" providerId="ADAL" clId="{2E4FD718-CAE7-4E9E-ABF2-B8B0A8E36B7F}" dt="2022-02-11T13:21:25.535" v="1038" actId="1035"/>
          <ac:spMkLst>
            <pc:docMk/>
            <pc:sldMk cId="1109741991" sldId="447"/>
            <ac:spMk id="37" creationId="{C74B8469-6B4D-40AE-9FF8-E931DEDE5EFF}"/>
          </ac:spMkLst>
        </pc:spChg>
        <pc:spChg chg="mod">
          <ac:chgData name="Egle Kalasnikovaite" userId="062d4a7a-f393-4074-bf4e-7a7e70ec959d" providerId="ADAL" clId="{2E4FD718-CAE7-4E9E-ABF2-B8B0A8E36B7F}" dt="2022-02-11T13:25:49.887" v="1106" actId="14100"/>
          <ac:spMkLst>
            <pc:docMk/>
            <pc:sldMk cId="1109741991" sldId="447"/>
            <ac:spMk id="39" creationId="{E4B6382C-1478-43D6-921B-96F2A843BB7A}"/>
          </ac:spMkLst>
        </pc:spChg>
        <pc:spChg chg="mod">
          <ac:chgData name="Egle Kalasnikovaite" userId="062d4a7a-f393-4074-bf4e-7a7e70ec959d" providerId="ADAL" clId="{2E4FD718-CAE7-4E9E-ABF2-B8B0A8E36B7F}" dt="2022-02-11T14:55:59.920" v="1989" actId="207"/>
          <ac:spMkLst>
            <pc:docMk/>
            <pc:sldMk cId="1109741991" sldId="447"/>
            <ac:spMk id="42" creationId="{A5D66E96-27FF-415E-BD07-5E67DA89029C}"/>
          </ac:spMkLst>
        </pc:spChg>
        <pc:spChg chg="mod">
          <ac:chgData name="Egle Kalasnikovaite" userId="062d4a7a-f393-4074-bf4e-7a7e70ec959d" providerId="ADAL" clId="{2E4FD718-CAE7-4E9E-ABF2-B8B0A8E36B7F}" dt="2022-02-11T13:21:25.535" v="1038" actId="1035"/>
          <ac:spMkLst>
            <pc:docMk/>
            <pc:sldMk cId="1109741991" sldId="447"/>
            <ac:spMk id="43" creationId="{57F6E1ED-4727-40EC-8887-86E88EE89ECE}"/>
          </ac:spMkLst>
        </pc:spChg>
        <pc:grpChg chg="mod ord">
          <ac:chgData name="Egle Kalasnikovaite" userId="062d4a7a-f393-4074-bf4e-7a7e70ec959d" providerId="ADAL" clId="{2E4FD718-CAE7-4E9E-ABF2-B8B0A8E36B7F}" dt="2022-02-11T13:24:55.064" v="1094" actId="1036"/>
          <ac:grpSpMkLst>
            <pc:docMk/>
            <pc:sldMk cId="1109741991" sldId="447"/>
            <ac:grpSpMk id="13" creationId="{6FF6DCE5-6046-40BF-B824-72ECC9EF7F29}"/>
          </ac:grpSpMkLst>
        </pc:grpChg>
        <pc:grpChg chg="mod ord">
          <ac:chgData name="Egle Kalasnikovaite" userId="062d4a7a-f393-4074-bf4e-7a7e70ec959d" providerId="ADAL" clId="{2E4FD718-CAE7-4E9E-ABF2-B8B0A8E36B7F}" dt="2022-02-11T13:24:55.064" v="1094" actId="1036"/>
          <ac:grpSpMkLst>
            <pc:docMk/>
            <pc:sldMk cId="1109741991" sldId="447"/>
            <ac:grpSpMk id="34" creationId="{D609BA43-417E-4757-B706-DD3ACEFBF4BE}"/>
          </ac:grpSpMkLst>
        </pc:grpChg>
        <pc:grpChg chg="mod ord">
          <ac:chgData name="Egle Kalasnikovaite" userId="062d4a7a-f393-4074-bf4e-7a7e70ec959d" providerId="ADAL" clId="{2E4FD718-CAE7-4E9E-ABF2-B8B0A8E36B7F}" dt="2022-02-11T13:24:55.064" v="1094" actId="1036"/>
          <ac:grpSpMkLst>
            <pc:docMk/>
            <pc:sldMk cId="1109741991" sldId="447"/>
            <ac:grpSpMk id="40" creationId="{6529504E-9565-42F1-A711-5404468FA1B7}"/>
          </ac:grpSpMkLst>
        </pc:grpChg>
      </pc:sldChg>
      <pc:sldChg chg="delSp modSp add mod modNotesTx">
        <pc:chgData name="Egle Kalasnikovaite" userId="062d4a7a-f393-4074-bf4e-7a7e70ec959d" providerId="ADAL" clId="{2E4FD718-CAE7-4E9E-ABF2-B8B0A8E36B7F}" dt="2022-02-11T14:57:24.931" v="2004" actId="207"/>
        <pc:sldMkLst>
          <pc:docMk/>
          <pc:sldMk cId="3491903191" sldId="449"/>
        </pc:sldMkLst>
        <pc:spChg chg="mod">
          <ac:chgData name="Egle Kalasnikovaite" userId="062d4a7a-f393-4074-bf4e-7a7e70ec959d" providerId="ADAL" clId="{2E4FD718-CAE7-4E9E-ABF2-B8B0A8E36B7F}" dt="2022-02-11T14:56:48.885" v="1995" actId="404"/>
          <ac:spMkLst>
            <pc:docMk/>
            <pc:sldMk cId="3491903191" sldId="449"/>
            <ac:spMk id="2" creationId="{E350CF06-F67F-46A1-A04D-A878CEED134A}"/>
          </ac:spMkLst>
        </pc:spChg>
        <pc:spChg chg="mod">
          <ac:chgData name="Egle Kalasnikovaite" userId="062d4a7a-f393-4074-bf4e-7a7e70ec959d" providerId="ADAL" clId="{2E4FD718-CAE7-4E9E-ABF2-B8B0A8E36B7F}" dt="2022-02-11T13:47:46.114" v="1351" actId="20577"/>
          <ac:spMkLst>
            <pc:docMk/>
            <pc:sldMk cId="3491903191" sldId="449"/>
            <ac:spMk id="12" creationId="{2A476A9C-E995-480E-8E94-35DA286ECA22}"/>
          </ac:spMkLst>
        </pc:spChg>
        <pc:spChg chg="mod">
          <ac:chgData name="Egle Kalasnikovaite" userId="062d4a7a-f393-4074-bf4e-7a7e70ec959d" providerId="ADAL" clId="{2E4FD718-CAE7-4E9E-ABF2-B8B0A8E36B7F}" dt="2022-02-11T14:57:19.638" v="2002" actId="207"/>
          <ac:spMkLst>
            <pc:docMk/>
            <pc:sldMk cId="3491903191" sldId="449"/>
            <ac:spMk id="15" creationId="{AA16E7A9-E674-486E-B1A1-25482019E52C}"/>
          </ac:spMkLst>
        </pc:spChg>
        <pc:spChg chg="mod">
          <ac:chgData name="Egle Kalasnikovaite" userId="062d4a7a-f393-4074-bf4e-7a7e70ec959d" providerId="ADAL" clId="{2E4FD718-CAE7-4E9E-ABF2-B8B0A8E36B7F}" dt="2022-02-11T13:49:23.943" v="1469" actId="14100"/>
          <ac:spMkLst>
            <pc:docMk/>
            <pc:sldMk cId="3491903191" sldId="449"/>
            <ac:spMk id="18" creationId="{486AEF5D-30F6-4F3A-9A0F-56A8CF84CCF5}"/>
          </ac:spMkLst>
        </pc:spChg>
        <pc:spChg chg="del">
          <ac:chgData name="Egle Kalasnikovaite" userId="062d4a7a-f393-4074-bf4e-7a7e70ec959d" providerId="ADAL" clId="{2E4FD718-CAE7-4E9E-ABF2-B8B0A8E36B7F}" dt="2022-02-11T13:26:57.783" v="1113" actId="478"/>
          <ac:spMkLst>
            <pc:docMk/>
            <pc:sldMk cId="3491903191" sldId="449"/>
            <ac:spMk id="19" creationId="{A3D66BDC-30BA-41D7-A786-D9E0285E9759}"/>
          </ac:spMkLst>
        </pc:spChg>
        <pc:spChg chg="del">
          <ac:chgData name="Egle Kalasnikovaite" userId="062d4a7a-f393-4074-bf4e-7a7e70ec959d" providerId="ADAL" clId="{2E4FD718-CAE7-4E9E-ABF2-B8B0A8E36B7F}" dt="2022-02-11T13:27:00.532" v="1114" actId="478"/>
          <ac:spMkLst>
            <pc:docMk/>
            <pc:sldMk cId="3491903191" sldId="449"/>
            <ac:spMk id="20" creationId="{C52D139E-35BF-409C-9EFB-8F78FBE2A78E}"/>
          </ac:spMkLst>
        </pc:spChg>
        <pc:spChg chg="mod">
          <ac:chgData name="Egle Kalasnikovaite" userId="062d4a7a-f393-4074-bf4e-7a7e70ec959d" providerId="ADAL" clId="{2E4FD718-CAE7-4E9E-ABF2-B8B0A8E36B7F}" dt="2022-02-11T13:27:33.296" v="1118"/>
          <ac:spMkLst>
            <pc:docMk/>
            <pc:sldMk cId="3491903191" sldId="449"/>
            <ac:spMk id="33" creationId="{CB6C5C18-549F-4AB1-ABC9-FEE125152494}"/>
          </ac:spMkLst>
        </pc:spChg>
        <pc:spChg chg="mod">
          <ac:chgData name="Egle Kalasnikovaite" userId="062d4a7a-f393-4074-bf4e-7a7e70ec959d" providerId="ADAL" clId="{2E4FD718-CAE7-4E9E-ABF2-B8B0A8E36B7F}" dt="2022-02-11T14:57:22.141" v="2003" actId="207"/>
          <ac:spMkLst>
            <pc:docMk/>
            <pc:sldMk cId="3491903191" sldId="449"/>
            <ac:spMk id="36" creationId="{E8D72F5E-511D-4DDA-8EB8-135528A20D5A}"/>
          </ac:spMkLst>
        </pc:spChg>
        <pc:spChg chg="mod">
          <ac:chgData name="Egle Kalasnikovaite" userId="062d4a7a-f393-4074-bf4e-7a7e70ec959d" providerId="ADAL" clId="{2E4FD718-CAE7-4E9E-ABF2-B8B0A8E36B7F}" dt="2022-02-11T13:49:23.943" v="1469" actId="14100"/>
          <ac:spMkLst>
            <pc:docMk/>
            <pc:sldMk cId="3491903191" sldId="449"/>
            <ac:spMk id="37" creationId="{C74B8469-6B4D-40AE-9FF8-E931DEDE5EFF}"/>
          </ac:spMkLst>
        </pc:spChg>
        <pc:spChg chg="mod">
          <ac:chgData name="Egle Kalasnikovaite" userId="062d4a7a-f393-4074-bf4e-7a7e70ec959d" providerId="ADAL" clId="{2E4FD718-CAE7-4E9E-ABF2-B8B0A8E36B7F}" dt="2022-02-11T13:27:58.998" v="1129"/>
          <ac:spMkLst>
            <pc:docMk/>
            <pc:sldMk cId="3491903191" sldId="449"/>
            <ac:spMk id="39" creationId="{E4B6382C-1478-43D6-921B-96F2A843BB7A}"/>
          </ac:spMkLst>
        </pc:spChg>
        <pc:spChg chg="mod">
          <ac:chgData name="Egle Kalasnikovaite" userId="062d4a7a-f393-4074-bf4e-7a7e70ec959d" providerId="ADAL" clId="{2E4FD718-CAE7-4E9E-ABF2-B8B0A8E36B7F}" dt="2022-02-11T14:57:24.931" v="2004" actId="207"/>
          <ac:spMkLst>
            <pc:docMk/>
            <pc:sldMk cId="3491903191" sldId="449"/>
            <ac:spMk id="42" creationId="{A5D66E96-27FF-415E-BD07-5E67DA89029C}"/>
          </ac:spMkLst>
        </pc:spChg>
        <pc:spChg chg="mod">
          <ac:chgData name="Egle Kalasnikovaite" userId="062d4a7a-f393-4074-bf4e-7a7e70ec959d" providerId="ADAL" clId="{2E4FD718-CAE7-4E9E-ABF2-B8B0A8E36B7F}" dt="2022-02-11T13:49:23.943" v="1469" actId="14100"/>
          <ac:spMkLst>
            <pc:docMk/>
            <pc:sldMk cId="3491903191" sldId="449"/>
            <ac:spMk id="43" creationId="{57F6E1ED-4727-40EC-8887-86E88EE89ECE}"/>
          </ac:spMkLst>
        </pc:spChg>
      </pc:sldChg>
      <pc:sldChg chg="delSp modSp add mod">
        <pc:chgData name="Egle Kalasnikovaite" userId="062d4a7a-f393-4074-bf4e-7a7e70ec959d" providerId="ADAL" clId="{2E4FD718-CAE7-4E9E-ABF2-B8B0A8E36B7F}" dt="2022-02-11T14:59:53.883" v="2019" actId="1076"/>
        <pc:sldMkLst>
          <pc:docMk/>
          <pc:sldMk cId="2887734875" sldId="451"/>
        </pc:sldMkLst>
        <pc:spChg chg="mod">
          <ac:chgData name="Egle Kalasnikovaite" userId="062d4a7a-f393-4074-bf4e-7a7e70ec959d" providerId="ADAL" clId="{2E4FD718-CAE7-4E9E-ABF2-B8B0A8E36B7F}" dt="2022-02-11T14:56:58.692" v="1997" actId="404"/>
          <ac:spMkLst>
            <pc:docMk/>
            <pc:sldMk cId="2887734875" sldId="451"/>
            <ac:spMk id="2" creationId="{E350CF06-F67F-46A1-A04D-A878CEED134A}"/>
          </ac:spMkLst>
        </pc:spChg>
        <pc:spChg chg="mod">
          <ac:chgData name="Egle Kalasnikovaite" userId="062d4a7a-f393-4074-bf4e-7a7e70ec959d" providerId="ADAL" clId="{2E4FD718-CAE7-4E9E-ABF2-B8B0A8E36B7F}" dt="2022-02-11T14:59:44.503" v="2018" actId="1076"/>
          <ac:spMkLst>
            <pc:docMk/>
            <pc:sldMk cId="2887734875" sldId="451"/>
            <ac:spMk id="12" creationId="{2A476A9C-E995-480E-8E94-35DA286ECA22}"/>
          </ac:spMkLst>
        </pc:spChg>
        <pc:spChg chg="mod">
          <ac:chgData name="Egle Kalasnikovaite" userId="062d4a7a-f393-4074-bf4e-7a7e70ec959d" providerId="ADAL" clId="{2E4FD718-CAE7-4E9E-ABF2-B8B0A8E36B7F}" dt="2022-02-11T14:57:34.264" v="2005" actId="207"/>
          <ac:spMkLst>
            <pc:docMk/>
            <pc:sldMk cId="2887734875" sldId="451"/>
            <ac:spMk id="15" creationId="{AA16E7A9-E674-486E-B1A1-25482019E52C}"/>
          </ac:spMkLst>
        </pc:spChg>
        <pc:spChg chg="mod">
          <ac:chgData name="Egle Kalasnikovaite" userId="062d4a7a-f393-4074-bf4e-7a7e70ec959d" providerId="ADAL" clId="{2E4FD718-CAE7-4E9E-ABF2-B8B0A8E36B7F}" dt="2022-02-11T14:59:37.371" v="2017" actId="408"/>
          <ac:spMkLst>
            <pc:docMk/>
            <pc:sldMk cId="2887734875" sldId="451"/>
            <ac:spMk id="18" creationId="{486AEF5D-30F6-4F3A-9A0F-56A8CF84CCF5}"/>
          </ac:spMkLst>
        </pc:spChg>
        <pc:spChg chg="mod">
          <ac:chgData name="Egle Kalasnikovaite" userId="062d4a7a-f393-4074-bf4e-7a7e70ec959d" providerId="ADAL" clId="{2E4FD718-CAE7-4E9E-ABF2-B8B0A8E36B7F}" dt="2022-02-11T14:59:53.883" v="2019" actId="1076"/>
          <ac:spMkLst>
            <pc:docMk/>
            <pc:sldMk cId="2887734875" sldId="451"/>
            <ac:spMk id="33" creationId="{CB6C5C18-549F-4AB1-ABC9-FEE125152494}"/>
          </ac:spMkLst>
        </pc:spChg>
        <pc:spChg chg="mod">
          <ac:chgData name="Egle Kalasnikovaite" userId="062d4a7a-f393-4074-bf4e-7a7e70ec959d" providerId="ADAL" clId="{2E4FD718-CAE7-4E9E-ABF2-B8B0A8E36B7F}" dt="2022-02-11T14:57:36.918" v="2006" actId="207"/>
          <ac:spMkLst>
            <pc:docMk/>
            <pc:sldMk cId="2887734875" sldId="451"/>
            <ac:spMk id="36" creationId="{E8D72F5E-511D-4DDA-8EB8-135528A20D5A}"/>
          </ac:spMkLst>
        </pc:spChg>
        <pc:spChg chg="mod">
          <ac:chgData name="Egle Kalasnikovaite" userId="062d4a7a-f393-4074-bf4e-7a7e70ec959d" providerId="ADAL" clId="{2E4FD718-CAE7-4E9E-ABF2-B8B0A8E36B7F}" dt="2022-02-11T14:59:37.371" v="2017" actId="408"/>
          <ac:spMkLst>
            <pc:docMk/>
            <pc:sldMk cId="2887734875" sldId="451"/>
            <ac:spMk id="37" creationId="{C74B8469-6B4D-40AE-9FF8-E931DEDE5EFF}"/>
          </ac:spMkLst>
        </pc:spChg>
        <pc:spChg chg="del">
          <ac:chgData name="Egle Kalasnikovaite" userId="062d4a7a-f393-4074-bf4e-7a7e70ec959d" providerId="ADAL" clId="{2E4FD718-CAE7-4E9E-ABF2-B8B0A8E36B7F}" dt="2022-02-11T13:50:49.625" v="1478" actId="478"/>
          <ac:spMkLst>
            <pc:docMk/>
            <pc:sldMk cId="2887734875" sldId="451"/>
            <ac:spMk id="39" creationId="{E4B6382C-1478-43D6-921B-96F2A843BB7A}"/>
          </ac:spMkLst>
        </pc:spChg>
        <pc:spChg chg="del">
          <ac:chgData name="Egle Kalasnikovaite" userId="062d4a7a-f393-4074-bf4e-7a7e70ec959d" providerId="ADAL" clId="{2E4FD718-CAE7-4E9E-ABF2-B8B0A8E36B7F}" dt="2022-02-11T13:50:53.011" v="1479" actId="478"/>
          <ac:spMkLst>
            <pc:docMk/>
            <pc:sldMk cId="2887734875" sldId="451"/>
            <ac:spMk id="43" creationId="{57F6E1ED-4727-40EC-8887-86E88EE89ECE}"/>
          </ac:spMkLst>
        </pc:spChg>
        <pc:grpChg chg="mod">
          <ac:chgData name="Egle Kalasnikovaite" userId="062d4a7a-f393-4074-bf4e-7a7e70ec959d" providerId="ADAL" clId="{2E4FD718-CAE7-4E9E-ABF2-B8B0A8E36B7F}" dt="2022-02-11T13:54:29.924" v="1507" actId="1076"/>
          <ac:grpSpMkLst>
            <pc:docMk/>
            <pc:sldMk cId="2887734875" sldId="451"/>
            <ac:grpSpMk id="13" creationId="{6FF6DCE5-6046-40BF-B824-72ECC9EF7F29}"/>
          </ac:grpSpMkLst>
        </pc:grpChg>
        <pc:grpChg chg="mod">
          <ac:chgData name="Egle Kalasnikovaite" userId="062d4a7a-f393-4074-bf4e-7a7e70ec959d" providerId="ADAL" clId="{2E4FD718-CAE7-4E9E-ABF2-B8B0A8E36B7F}" dt="2022-02-11T13:54:51.552" v="1508" actId="1076"/>
          <ac:grpSpMkLst>
            <pc:docMk/>
            <pc:sldMk cId="2887734875" sldId="451"/>
            <ac:grpSpMk id="34" creationId="{D609BA43-417E-4757-B706-DD3ACEFBF4BE}"/>
          </ac:grpSpMkLst>
        </pc:grpChg>
        <pc:grpChg chg="del">
          <ac:chgData name="Egle Kalasnikovaite" userId="062d4a7a-f393-4074-bf4e-7a7e70ec959d" providerId="ADAL" clId="{2E4FD718-CAE7-4E9E-ABF2-B8B0A8E36B7F}" dt="2022-02-11T13:50:54.763" v="1480" actId="478"/>
          <ac:grpSpMkLst>
            <pc:docMk/>
            <pc:sldMk cId="2887734875" sldId="451"/>
            <ac:grpSpMk id="40" creationId="{6529504E-9565-42F1-A711-5404468FA1B7}"/>
          </ac:grpSpMkLst>
        </pc:grpChg>
      </pc:sldChg>
      <pc:sldChg chg="addSp delSp modSp add mod modNotesTx">
        <pc:chgData name="Egle Kalasnikovaite" userId="062d4a7a-f393-4074-bf4e-7a7e70ec959d" providerId="ADAL" clId="{2E4FD718-CAE7-4E9E-ABF2-B8B0A8E36B7F}" dt="2022-02-11T15:33:44.642" v="2159" actId="1582"/>
        <pc:sldMkLst>
          <pc:docMk/>
          <pc:sldMk cId="3929339795" sldId="453"/>
        </pc:sldMkLst>
        <pc:spChg chg="mod">
          <ac:chgData name="Egle Kalasnikovaite" userId="062d4a7a-f393-4074-bf4e-7a7e70ec959d" providerId="ADAL" clId="{2E4FD718-CAE7-4E9E-ABF2-B8B0A8E36B7F}" dt="2022-02-11T14:57:58.593" v="2011" actId="255"/>
          <ac:spMkLst>
            <pc:docMk/>
            <pc:sldMk cId="3929339795" sldId="453"/>
            <ac:spMk id="2" creationId="{E350CF06-F67F-46A1-A04D-A878CEED134A}"/>
          </ac:spMkLst>
        </pc:spChg>
        <pc:spChg chg="mod">
          <ac:chgData name="Egle Kalasnikovaite" userId="062d4a7a-f393-4074-bf4e-7a7e70ec959d" providerId="ADAL" clId="{2E4FD718-CAE7-4E9E-ABF2-B8B0A8E36B7F}" dt="2022-02-11T14:43:16.579" v="1804" actId="20577"/>
          <ac:spMkLst>
            <pc:docMk/>
            <pc:sldMk cId="3929339795" sldId="453"/>
            <ac:spMk id="12" creationId="{2A476A9C-E995-480E-8E94-35DA286ECA22}"/>
          </ac:spMkLst>
        </pc:spChg>
        <pc:spChg chg="mod">
          <ac:chgData name="Egle Kalasnikovaite" userId="062d4a7a-f393-4074-bf4e-7a7e70ec959d" providerId="ADAL" clId="{2E4FD718-CAE7-4E9E-ABF2-B8B0A8E36B7F}" dt="2022-02-11T14:57:43.453" v="2007" actId="207"/>
          <ac:spMkLst>
            <pc:docMk/>
            <pc:sldMk cId="3929339795" sldId="453"/>
            <ac:spMk id="15" creationId="{AA16E7A9-E674-486E-B1A1-25482019E52C}"/>
          </ac:spMkLst>
        </pc:spChg>
        <pc:spChg chg="mod">
          <ac:chgData name="Egle Kalasnikovaite" userId="062d4a7a-f393-4074-bf4e-7a7e70ec959d" providerId="ADAL" clId="{2E4FD718-CAE7-4E9E-ABF2-B8B0A8E36B7F}" dt="2022-02-11T14:46:57.433" v="1838" actId="14100"/>
          <ac:spMkLst>
            <pc:docMk/>
            <pc:sldMk cId="3929339795" sldId="453"/>
            <ac:spMk id="18" creationId="{486AEF5D-30F6-4F3A-9A0F-56A8CF84CCF5}"/>
          </ac:spMkLst>
        </pc:spChg>
        <pc:spChg chg="add del mod">
          <ac:chgData name="Egle Kalasnikovaite" userId="062d4a7a-f393-4074-bf4e-7a7e70ec959d" providerId="ADAL" clId="{2E4FD718-CAE7-4E9E-ABF2-B8B0A8E36B7F}" dt="2022-02-11T14:24:17.387" v="1595" actId="478"/>
          <ac:spMkLst>
            <pc:docMk/>
            <pc:sldMk cId="3929339795" sldId="453"/>
            <ac:spMk id="19" creationId="{ADCCD772-6777-4850-AD46-A1096DF0C8D4}"/>
          </ac:spMkLst>
        </pc:spChg>
        <pc:spChg chg="add mod">
          <ac:chgData name="Egle Kalasnikovaite" userId="062d4a7a-f393-4074-bf4e-7a7e70ec959d" providerId="ADAL" clId="{2E4FD718-CAE7-4E9E-ABF2-B8B0A8E36B7F}" dt="2022-02-11T14:40:35.277" v="1712" actId="408"/>
          <ac:spMkLst>
            <pc:docMk/>
            <pc:sldMk cId="3929339795" sldId="453"/>
            <ac:spMk id="20" creationId="{EFDD4146-FC51-413E-AB0A-BEFE639B8501}"/>
          </ac:spMkLst>
        </pc:spChg>
        <pc:spChg chg="add mod">
          <ac:chgData name="Egle Kalasnikovaite" userId="062d4a7a-f393-4074-bf4e-7a7e70ec959d" providerId="ADAL" clId="{2E4FD718-CAE7-4E9E-ABF2-B8B0A8E36B7F}" dt="2022-02-11T14:47:08.373" v="1841" actId="14100"/>
          <ac:spMkLst>
            <pc:docMk/>
            <pc:sldMk cId="3929339795" sldId="453"/>
            <ac:spMk id="21" creationId="{8746266F-F753-4E4E-965F-DF3D054C17DA}"/>
          </ac:spMkLst>
        </pc:spChg>
        <pc:spChg chg="mod">
          <ac:chgData name="Egle Kalasnikovaite" userId="062d4a7a-f393-4074-bf4e-7a7e70ec959d" providerId="ADAL" clId="{2E4FD718-CAE7-4E9E-ABF2-B8B0A8E36B7F}" dt="2022-02-11T14:24:24.115" v="1596"/>
          <ac:spMkLst>
            <pc:docMk/>
            <pc:sldMk cId="3929339795" sldId="453"/>
            <ac:spMk id="23" creationId="{03DC2898-C648-4EF3-AE53-574553F144FF}"/>
          </ac:spMkLst>
        </pc:spChg>
        <pc:spChg chg="mod">
          <ac:chgData name="Egle Kalasnikovaite" userId="062d4a7a-f393-4074-bf4e-7a7e70ec959d" providerId="ADAL" clId="{2E4FD718-CAE7-4E9E-ABF2-B8B0A8E36B7F}" dt="2022-02-11T14:57:51.248" v="2010" actId="207"/>
          <ac:spMkLst>
            <pc:docMk/>
            <pc:sldMk cId="3929339795" sldId="453"/>
            <ac:spMk id="24" creationId="{4450D67B-9656-4D04-ABB4-931F6EC98E06}"/>
          </ac:spMkLst>
        </pc:spChg>
        <pc:spChg chg="add mod">
          <ac:chgData name="Egle Kalasnikovaite" userId="062d4a7a-f393-4074-bf4e-7a7e70ec959d" providerId="ADAL" clId="{2E4FD718-CAE7-4E9E-ABF2-B8B0A8E36B7F}" dt="2022-02-11T15:33:44.642" v="2159" actId="1582"/>
          <ac:spMkLst>
            <pc:docMk/>
            <pc:sldMk cId="3929339795" sldId="453"/>
            <ac:spMk id="25" creationId="{244A3699-D3A0-49E4-BCF3-AD3565EAD51F}"/>
          </ac:spMkLst>
        </pc:spChg>
        <pc:spChg chg="mod">
          <ac:chgData name="Egle Kalasnikovaite" userId="062d4a7a-f393-4074-bf4e-7a7e70ec959d" providerId="ADAL" clId="{2E4FD718-CAE7-4E9E-ABF2-B8B0A8E36B7F}" dt="2022-02-11T14:44:05.926" v="1829" actId="20577"/>
          <ac:spMkLst>
            <pc:docMk/>
            <pc:sldMk cId="3929339795" sldId="453"/>
            <ac:spMk id="33" creationId="{CB6C5C18-549F-4AB1-ABC9-FEE125152494}"/>
          </ac:spMkLst>
        </pc:spChg>
        <pc:spChg chg="mod">
          <ac:chgData name="Egle Kalasnikovaite" userId="062d4a7a-f393-4074-bf4e-7a7e70ec959d" providerId="ADAL" clId="{2E4FD718-CAE7-4E9E-ABF2-B8B0A8E36B7F}" dt="2022-02-11T14:57:46.148" v="2008" actId="207"/>
          <ac:spMkLst>
            <pc:docMk/>
            <pc:sldMk cId="3929339795" sldId="453"/>
            <ac:spMk id="36" creationId="{E8D72F5E-511D-4DDA-8EB8-135528A20D5A}"/>
          </ac:spMkLst>
        </pc:spChg>
        <pc:spChg chg="mod">
          <ac:chgData name="Egle Kalasnikovaite" userId="062d4a7a-f393-4074-bf4e-7a7e70ec959d" providerId="ADAL" clId="{2E4FD718-CAE7-4E9E-ABF2-B8B0A8E36B7F}" dt="2022-02-11T14:47:00.698" v="1839" actId="14100"/>
          <ac:spMkLst>
            <pc:docMk/>
            <pc:sldMk cId="3929339795" sldId="453"/>
            <ac:spMk id="37" creationId="{C74B8469-6B4D-40AE-9FF8-E931DEDE5EFF}"/>
          </ac:spMkLst>
        </pc:spChg>
        <pc:spChg chg="mod">
          <ac:chgData name="Egle Kalasnikovaite" userId="062d4a7a-f393-4074-bf4e-7a7e70ec959d" providerId="ADAL" clId="{2E4FD718-CAE7-4E9E-ABF2-B8B0A8E36B7F}" dt="2022-02-11T14:40:35.277" v="1712" actId="408"/>
          <ac:spMkLst>
            <pc:docMk/>
            <pc:sldMk cId="3929339795" sldId="453"/>
            <ac:spMk id="39" creationId="{E4B6382C-1478-43D6-921B-96F2A843BB7A}"/>
          </ac:spMkLst>
        </pc:spChg>
        <pc:spChg chg="mod">
          <ac:chgData name="Egle Kalasnikovaite" userId="062d4a7a-f393-4074-bf4e-7a7e70ec959d" providerId="ADAL" clId="{2E4FD718-CAE7-4E9E-ABF2-B8B0A8E36B7F}" dt="2022-02-11T14:57:48.891" v="2009" actId="207"/>
          <ac:spMkLst>
            <pc:docMk/>
            <pc:sldMk cId="3929339795" sldId="453"/>
            <ac:spMk id="42" creationId="{A5D66E96-27FF-415E-BD07-5E67DA89029C}"/>
          </ac:spMkLst>
        </pc:spChg>
        <pc:spChg chg="mod">
          <ac:chgData name="Egle Kalasnikovaite" userId="062d4a7a-f393-4074-bf4e-7a7e70ec959d" providerId="ADAL" clId="{2E4FD718-CAE7-4E9E-ABF2-B8B0A8E36B7F}" dt="2022-02-11T14:47:04.822" v="1840" actId="14100"/>
          <ac:spMkLst>
            <pc:docMk/>
            <pc:sldMk cId="3929339795" sldId="453"/>
            <ac:spMk id="43" creationId="{57F6E1ED-4727-40EC-8887-86E88EE89ECE}"/>
          </ac:spMkLst>
        </pc:spChg>
        <pc:grpChg chg="mod">
          <ac:chgData name="Egle Kalasnikovaite" userId="062d4a7a-f393-4074-bf4e-7a7e70ec959d" providerId="ADAL" clId="{2E4FD718-CAE7-4E9E-ABF2-B8B0A8E36B7F}" dt="2022-02-11T14:45:05.398" v="1832" actId="1076"/>
          <ac:grpSpMkLst>
            <pc:docMk/>
            <pc:sldMk cId="3929339795" sldId="453"/>
            <ac:grpSpMk id="13" creationId="{6FF6DCE5-6046-40BF-B824-72ECC9EF7F29}"/>
          </ac:grpSpMkLst>
        </pc:grpChg>
        <pc:grpChg chg="add mod">
          <ac:chgData name="Egle Kalasnikovaite" userId="062d4a7a-f393-4074-bf4e-7a7e70ec959d" providerId="ADAL" clId="{2E4FD718-CAE7-4E9E-ABF2-B8B0A8E36B7F}" dt="2022-02-11T14:46:02.874" v="1835" actId="1076"/>
          <ac:grpSpMkLst>
            <pc:docMk/>
            <pc:sldMk cId="3929339795" sldId="453"/>
            <ac:grpSpMk id="22" creationId="{804F3C2E-B0FD-4BF6-BC41-19E91775D93D}"/>
          </ac:grpSpMkLst>
        </pc:grpChg>
        <pc:grpChg chg="mod">
          <ac:chgData name="Egle Kalasnikovaite" userId="062d4a7a-f393-4074-bf4e-7a7e70ec959d" providerId="ADAL" clId="{2E4FD718-CAE7-4E9E-ABF2-B8B0A8E36B7F}" dt="2022-02-11T14:46:51.443" v="1837" actId="1076"/>
          <ac:grpSpMkLst>
            <pc:docMk/>
            <pc:sldMk cId="3929339795" sldId="453"/>
            <ac:grpSpMk id="34" creationId="{D609BA43-417E-4757-B706-DD3ACEFBF4BE}"/>
          </ac:grpSpMkLst>
        </pc:grpChg>
        <pc:grpChg chg="mod">
          <ac:chgData name="Egle Kalasnikovaite" userId="062d4a7a-f393-4074-bf4e-7a7e70ec959d" providerId="ADAL" clId="{2E4FD718-CAE7-4E9E-ABF2-B8B0A8E36B7F}" dt="2022-02-11T14:46:28.655" v="1836" actId="1076"/>
          <ac:grpSpMkLst>
            <pc:docMk/>
            <pc:sldMk cId="3929339795" sldId="453"/>
            <ac:grpSpMk id="40" creationId="{6529504E-9565-42F1-A711-5404468FA1B7}"/>
          </ac:grpSpMkLst>
        </pc:grpChg>
      </pc:sldChg>
      <pc:sldChg chg="delSp modSp add mod">
        <pc:chgData name="Egle Kalasnikovaite" userId="062d4a7a-f393-4074-bf4e-7a7e70ec959d" providerId="ADAL" clId="{2E4FD718-CAE7-4E9E-ABF2-B8B0A8E36B7F}" dt="2022-02-11T15:02:02.838" v="2029" actId="14100"/>
        <pc:sldMkLst>
          <pc:docMk/>
          <pc:sldMk cId="48667920" sldId="457"/>
        </pc:sldMkLst>
        <pc:spChg chg="mod">
          <ac:chgData name="Egle Kalasnikovaite" userId="062d4a7a-f393-4074-bf4e-7a7e70ec959d" providerId="ADAL" clId="{2E4FD718-CAE7-4E9E-ABF2-B8B0A8E36B7F}" dt="2022-02-11T14:58:15.117" v="2013" actId="255"/>
          <ac:spMkLst>
            <pc:docMk/>
            <pc:sldMk cId="48667920" sldId="457"/>
            <ac:spMk id="2" creationId="{E350CF06-F67F-46A1-A04D-A878CEED134A}"/>
          </ac:spMkLst>
        </pc:spChg>
        <pc:spChg chg="mod">
          <ac:chgData name="Egle Kalasnikovaite" userId="062d4a7a-f393-4074-bf4e-7a7e70ec959d" providerId="ADAL" clId="{2E4FD718-CAE7-4E9E-ABF2-B8B0A8E36B7F}" dt="2022-02-11T15:00:41.786" v="2023" actId="408"/>
          <ac:spMkLst>
            <pc:docMk/>
            <pc:sldMk cId="48667920" sldId="457"/>
            <ac:spMk id="12" creationId="{2A476A9C-E995-480E-8E94-35DA286ECA22}"/>
          </ac:spMkLst>
        </pc:spChg>
        <pc:spChg chg="mod">
          <ac:chgData name="Egle Kalasnikovaite" userId="062d4a7a-f393-4074-bf4e-7a7e70ec959d" providerId="ADAL" clId="{2E4FD718-CAE7-4E9E-ABF2-B8B0A8E36B7F}" dt="2022-02-11T14:58:08.752" v="2012" actId="207"/>
          <ac:spMkLst>
            <pc:docMk/>
            <pc:sldMk cId="48667920" sldId="457"/>
            <ac:spMk id="15" creationId="{AA16E7A9-E674-486E-B1A1-25482019E52C}"/>
          </ac:spMkLst>
        </pc:spChg>
        <pc:spChg chg="mod">
          <ac:chgData name="Egle Kalasnikovaite" userId="062d4a7a-f393-4074-bf4e-7a7e70ec959d" providerId="ADAL" clId="{2E4FD718-CAE7-4E9E-ABF2-B8B0A8E36B7F}" dt="2022-02-11T15:02:02.838" v="2029" actId="14100"/>
          <ac:spMkLst>
            <pc:docMk/>
            <pc:sldMk cId="48667920" sldId="457"/>
            <ac:spMk id="18" creationId="{486AEF5D-30F6-4F3A-9A0F-56A8CF84CCF5}"/>
          </ac:spMkLst>
        </pc:spChg>
        <pc:spChg chg="del">
          <ac:chgData name="Egle Kalasnikovaite" userId="062d4a7a-f393-4074-bf4e-7a7e70ec959d" providerId="ADAL" clId="{2E4FD718-CAE7-4E9E-ABF2-B8B0A8E36B7F}" dt="2022-02-11T14:52:45.485" v="1960" actId="478"/>
          <ac:spMkLst>
            <pc:docMk/>
            <pc:sldMk cId="48667920" sldId="457"/>
            <ac:spMk id="33" creationId="{CB6C5C18-549F-4AB1-ABC9-FEE125152494}"/>
          </ac:spMkLst>
        </pc:spChg>
        <pc:spChg chg="del">
          <ac:chgData name="Egle Kalasnikovaite" userId="062d4a7a-f393-4074-bf4e-7a7e70ec959d" providerId="ADAL" clId="{2E4FD718-CAE7-4E9E-ABF2-B8B0A8E36B7F}" dt="2022-02-11T14:52:40.667" v="1958" actId="478"/>
          <ac:spMkLst>
            <pc:docMk/>
            <pc:sldMk cId="48667920" sldId="457"/>
            <ac:spMk id="37" creationId="{C74B8469-6B4D-40AE-9FF8-E931DEDE5EFF}"/>
          </ac:spMkLst>
        </pc:spChg>
        <pc:grpChg chg="mod">
          <ac:chgData name="Egle Kalasnikovaite" userId="062d4a7a-f393-4074-bf4e-7a7e70ec959d" providerId="ADAL" clId="{2E4FD718-CAE7-4E9E-ABF2-B8B0A8E36B7F}" dt="2022-02-11T15:01:16.557" v="2028" actId="1035"/>
          <ac:grpSpMkLst>
            <pc:docMk/>
            <pc:sldMk cId="48667920" sldId="457"/>
            <ac:grpSpMk id="13" creationId="{6FF6DCE5-6046-40BF-B824-72ECC9EF7F29}"/>
          </ac:grpSpMkLst>
        </pc:grpChg>
        <pc:grpChg chg="del">
          <ac:chgData name="Egle Kalasnikovaite" userId="062d4a7a-f393-4074-bf4e-7a7e70ec959d" providerId="ADAL" clId="{2E4FD718-CAE7-4E9E-ABF2-B8B0A8E36B7F}" dt="2022-02-11T14:52:43.255" v="1959" actId="478"/>
          <ac:grpSpMkLst>
            <pc:docMk/>
            <pc:sldMk cId="48667920" sldId="457"/>
            <ac:grpSpMk id="34" creationId="{D609BA43-417E-4757-B706-DD3ACEFBF4BE}"/>
          </ac:grpSpMkLst>
        </pc:grpChg>
      </pc:sldChg>
      <pc:sldChg chg="addSp delSp modSp add mod">
        <pc:chgData name="Egle Kalasnikovaite" userId="062d4a7a-f393-4074-bf4e-7a7e70ec959d" providerId="ADAL" clId="{2E4FD718-CAE7-4E9E-ABF2-B8B0A8E36B7F}" dt="2022-02-11T16:14:12.021" v="2214" actId="12"/>
        <pc:sldMkLst>
          <pc:docMk/>
          <pc:sldMk cId="4268286866" sldId="462"/>
        </pc:sldMkLst>
        <pc:spChg chg="mod">
          <ac:chgData name="Egle Kalasnikovaite" userId="062d4a7a-f393-4074-bf4e-7a7e70ec959d" providerId="ADAL" clId="{2E4FD718-CAE7-4E9E-ABF2-B8B0A8E36B7F}" dt="2022-02-11T15:08:54.483" v="2033" actId="207"/>
          <ac:spMkLst>
            <pc:docMk/>
            <pc:sldMk cId="4268286866" sldId="462"/>
            <ac:spMk id="6" creationId="{44DCF309-A576-4E02-BDDC-16E658D2E8F8}"/>
          </ac:spMkLst>
        </pc:spChg>
        <pc:spChg chg="mod">
          <ac:chgData name="Egle Kalasnikovaite" userId="062d4a7a-f393-4074-bf4e-7a7e70ec959d" providerId="ADAL" clId="{2E4FD718-CAE7-4E9E-ABF2-B8B0A8E36B7F}" dt="2022-02-11T15:08:59.134" v="2034" actId="207"/>
          <ac:spMkLst>
            <pc:docMk/>
            <pc:sldMk cId="4268286866" sldId="462"/>
            <ac:spMk id="7" creationId="{49FE8141-7AC9-4210-81A4-44D00BED890C}"/>
          </ac:spMkLst>
        </pc:spChg>
        <pc:spChg chg="mod">
          <ac:chgData name="Egle Kalasnikovaite" userId="062d4a7a-f393-4074-bf4e-7a7e70ec959d" providerId="ADAL" clId="{2E4FD718-CAE7-4E9E-ABF2-B8B0A8E36B7F}" dt="2022-02-11T15:11:00.292" v="2038"/>
          <ac:spMkLst>
            <pc:docMk/>
            <pc:sldMk cId="4268286866" sldId="462"/>
            <ac:spMk id="8" creationId="{D4BA0322-774D-45E2-995A-B7FBA65EA31F}"/>
          </ac:spMkLst>
        </pc:spChg>
        <pc:spChg chg="mod topLvl">
          <ac:chgData name="Egle Kalasnikovaite" userId="062d4a7a-f393-4074-bf4e-7a7e70ec959d" providerId="ADAL" clId="{2E4FD718-CAE7-4E9E-ABF2-B8B0A8E36B7F}" dt="2022-02-11T15:41:20.623" v="2178" actId="14100"/>
          <ac:spMkLst>
            <pc:docMk/>
            <pc:sldMk cId="4268286866" sldId="462"/>
            <ac:spMk id="17" creationId="{3943F60A-B91C-4B98-9E64-78FCCC2F3D54}"/>
          </ac:spMkLst>
        </pc:spChg>
        <pc:spChg chg="del mod topLvl">
          <ac:chgData name="Egle Kalasnikovaite" userId="062d4a7a-f393-4074-bf4e-7a7e70ec959d" providerId="ADAL" clId="{2E4FD718-CAE7-4E9E-ABF2-B8B0A8E36B7F}" dt="2022-02-11T15:12:25.713" v="2047" actId="478"/>
          <ac:spMkLst>
            <pc:docMk/>
            <pc:sldMk cId="4268286866" sldId="462"/>
            <ac:spMk id="31" creationId="{3594246A-D1E7-4360-9D2D-BE94E233B41D}"/>
          </ac:spMkLst>
        </pc:spChg>
        <pc:spChg chg="mod">
          <ac:chgData name="Egle Kalasnikovaite" userId="062d4a7a-f393-4074-bf4e-7a7e70ec959d" providerId="ADAL" clId="{2E4FD718-CAE7-4E9E-ABF2-B8B0A8E36B7F}" dt="2022-02-11T15:13:25.933" v="2049"/>
          <ac:spMkLst>
            <pc:docMk/>
            <pc:sldMk cId="4268286866" sldId="462"/>
            <ac:spMk id="33" creationId="{329DBB42-0C2E-44CE-AEBF-0E418ED6416A}"/>
          </ac:spMkLst>
        </pc:spChg>
        <pc:spChg chg="mod">
          <ac:chgData name="Egle Kalasnikovaite" userId="062d4a7a-f393-4074-bf4e-7a7e70ec959d" providerId="ADAL" clId="{2E4FD718-CAE7-4E9E-ABF2-B8B0A8E36B7F}" dt="2022-02-11T15:42:50.676" v="2181" actId="20577"/>
          <ac:spMkLst>
            <pc:docMk/>
            <pc:sldMk cId="4268286866" sldId="462"/>
            <ac:spMk id="34" creationId="{076A2663-7BC0-48F1-BD18-AA10EBD22B10}"/>
          </ac:spMkLst>
        </pc:spChg>
        <pc:spChg chg="mod">
          <ac:chgData name="Egle Kalasnikovaite" userId="062d4a7a-f393-4074-bf4e-7a7e70ec959d" providerId="ADAL" clId="{2E4FD718-CAE7-4E9E-ABF2-B8B0A8E36B7F}" dt="2022-02-11T15:18:00.110" v="2072" actId="13926"/>
          <ac:spMkLst>
            <pc:docMk/>
            <pc:sldMk cId="4268286866" sldId="462"/>
            <ac:spMk id="38" creationId="{787DCCBB-04AD-45F3-814A-F0BE45E2CFE9}"/>
          </ac:spMkLst>
        </pc:spChg>
        <pc:spChg chg="mod">
          <ac:chgData name="Egle Kalasnikovaite" userId="062d4a7a-f393-4074-bf4e-7a7e70ec959d" providerId="ADAL" clId="{2E4FD718-CAE7-4E9E-ABF2-B8B0A8E36B7F}" dt="2022-02-11T15:15:15.431" v="2062" actId="20577"/>
          <ac:spMkLst>
            <pc:docMk/>
            <pc:sldMk cId="4268286866" sldId="462"/>
            <ac:spMk id="40" creationId="{DD3E6B97-7117-4711-844A-EB2B78B3936F}"/>
          </ac:spMkLst>
        </pc:spChg>
        <pc:spChg chg="mod">
          <ac:chgData name="Egle Kalasnikovaite" userId="062d4a7a-f393-4074-bf4e-7a7e70ec959d" providerId="ADAL" clId="{2E4FD718-CAE7-4E9E-ABF2-B8B0A8E36B7F}" dt="2022-02-11T15:18:03.946" v="2073" actId="13926"/>
          <ac:spMkLst>
            <pc:docMk/>
            <pc:sldMk cId="4268286866" sldId="462"/>
            <ac:spMk id="47" creationId="{48889598-272E-46E7-9D8C-9F5238F35226}"/>
          </ac:spMkLst>
        </pc:spChg>
        <pc:spChg chg="del mod">
          <ac:chgData name="Egle Kalasnikovaite" userId="062d4a7a-f393-4074-bf4e-7a7e70ec959d" providerId="ADAL" clId="{2E4FD718-CAE7-4E9E-ABF2-B8B0A8E36B7F}" dt="2022-02-11T15:16:32.571" v="2070" actId="478"/>
          <ac:spMkLst>
            <pc:docMk/>
            <pc:sldMk cId="4268286866" sldId="462"/>
            <ac:spMk id="48" creationId="{592448AE-1D6F-44F3-A172-8F1CAA6A3906}"/>
          </ac:spMkLst>
        </pc:spChg>
        <pc:spChg chg="mod">
          <ac:chgData name="Egle Kalasnikovaite" userId="062d4a7a-f393-4074-bf4e-7a7e70ec959d" providerId="ADAL" clId="{2E4FD718-CAE7-4E9E-ABF2-B8B0A8E36B7F}" dt="2022-02-11T15:16:28.956" v="2069"/>
          <ac:spMkLst>
            <pc:docMk/>
            <pc:sldMk cId="4268286866" sldId="462"/>
            <ac:spMk id="52" creationId="{827B0D54-033A-4E88-9234-6CCBDCA2A765}"/>
          </ac:spMkLst>
        </pc:spChg>
        <pc:spChg chg="mod">
          <ac:chgData name="Egle Kalasnikovaite" userId="062d4a7a-f393-4074-bf4e-7a7e70ec959d" providerId="ADAL" clId="{2E4FD718-CAE7-4E9E-ABF2-B8B0A8E36B7F}" dt="2022-02-11T16:14:12.021" v="2214" actId="12"/>
          <ac:spMkLst>
            <pc:docMk/>
            <pc:sldMk cId="4268286866" sldId="462"/>
            <ac:spMk id="53" creationId="{A347CF0E-C2E2-44BD-81B2-6E6C77E718A9}"/>
          </ac:spMkLst>
        </pc:spChg>
        <pc:spChg chg="mod">
          <ac:chgData name="Egle Kalasnikovaite" userId="062d4a7a-f393-4074-bf4e-7a7e70ec959d" providerId="ADAL" clId="{2E4FD718-CAE7-4E9E-ABF2-B8B0A8E36B7F}" dt="2022-02-11T15:16:20.815" v="2067"/>
          <ac:spMkLst>
            <pc:docMk/>
            <pc:sldMk cId="4268286866" sldId="462"/>
            <ac:spMk id="54" creationId="{91123C7D-A28E-4970-9230-B5CFF2AEF8CF}"/>
          </ac:spMkLst>
        </pc:spChg>
        <pc:spChg chg="del mod">
          <ac:chgData name="Egle Kalasnikovaite" userId="062d4a7a-f393-4074-bf4e-7a7e70ec959d" providerId="ADAL" clId="{2E4FD718-CAE7-4E9E-ABF2-B8B0A8E36B7F}" dt="2022-02-11T15:16:36.410" v="2071" actId="478"/>
          <ac:spMkLst>
            <pc:docMk/>
            <pc:sldMk cId="4268286866" sldId="462"/>
            <ac:spMk id="58" creationId="{2912DD32-A6D1-4657-B4A4-473C7A2FFCBB}"/>
          </ac:spMkLst>
        </pc:spChg>
        <pc:spChg chg="mod">
          <ac:chgData name="Egle Kalasnikovaite" userId="062d4a7a-f393-4074-bf4e-7a7e70ec959d" providerId="ADAL" clId="{2E4FD718-CAE7-4E9E-ABF2-B8B0A8E36B7F}" dt="2022-02-11T15:15:36.433" v="2064"/>
          <ac:spMkLst>
            <pc:docMk/>
            <pc:sldMk cId="4268286866" sldId="462"/>
            <ac:spMk id="59" creationId="{F3B7AEA4-28AF-43CE-87B9-3AAB7342DFB6}"/>
          </ac:spMkLst>
        </pc:spChg>
        <pc:spChg chg="mod">
          <ac:chgData name="Egle Kalasnikovaite" userId="062d4a7a-f393-4074-bf4e-7a7e70ec959d" providerId="ADAL" clId="{2E4FD718-CAE7-4E9E-ABF2-B8B0A8E36B7F}" dt="2022-02-11T15:55:45.860" v="2191" actId="14100"/>
          <ac:spMkLst>
            <pc:docMk/>
            <pc:sldMk cId="4268286866" sldId="462"/>
            <ac:spMk id="60" creationId="{BCE3AAE7-D6B4-43D1-B29C-1016ADA97EB2}"/>
          </ac:spMkLst>
        </pc:spChg>
        <pc:spChg chg="mod">
          <ac:chgData name="Egle Kalasnikovaite" userId="062d4a7a-f393-4074-bf4e-7a7e70ec959d" providerId="ADAL" clId="{2E4FD718-CAE7-4E9E-ABF2-B8B0A8E36B7F}" dt="2022-02-11T15:55:45.860" v="2191" actId="14100"/>
          <ac:spMkLst>
            <pc:docMk/>
            <pc:sldMk cId="4268286866" sldId="462"/>
            <ac:spMk id="62" creationId="{AE0E76A9-A998-4725-8A2E-B6F1E5CD3A22}"/>
          </ac:spMkLst>
        </pc:spChg>
        <pc:spChg chg="mod">
          <ac:chgData name="Egle Kalasnikovaite" userId="062d4a7a-f393-4074-bf4e-7a7e70ec959d" providerId="ADAL" clId="{2E4FD718-CAE7-4E9E-ABF2-B8B0A8E36B7F}" dt="2022-02-11T15:57:48.468" v="2202" actId="20577"/>
          <ac:spMkLst>
            <pc:docMk/>
            <pc:sldMk cId="4268286866" sldId="462"/>
            <ac:spMk id="64" creationId="{4AF32163-B136-45B2-9975-AA50D434CED3}"/>
          </ac:spMkLst>
        </pc:spChg>
        <pc:spChg chg="del">
          <ac:chgData name="Egle Kalasnikovaite" userId="062d4a7a-f393-4074-bf4e-7a7e70ec959d" providerId="ADAL" clId="{2E4FD718-CAE7-4E9E-ABF2-B8B0A8E36B7F}" dt="2022-02-11T15:21:34.179" v="2083" actId="478"/>
          <ac:spMkLst>
            <pc:docMk/>
            <pc:sldMk cId="4268286866" sldId="462"/>
            <ac:spMk id="66" creationId="{FD1C34E6-C313-46D2-BA44-B8D6766162CA}"/>
          </ac:spMkLst>
        </pc:spChg>
        <pc:spChg chg="mod">
          <ac:chgData name="Egle Kalasnikovaite" userId="062d4a7a-f393-4074-bf4e-7a7e70ec959d" providerId="ADAL" clId="{2E4FD718-CAE7-4E9E-ABF2-B8B0A8E36B7F}" dt="2022-02-11T15:55:45.860" v="2191" actId="14100"/>
          <ac:spMkLst>
            <pc:docMk/>
            <pc:sldMk cId="4268286866" sldId="462"/>
            <ac:spMk id="68" creationId="{DC51C86B-4691-48DF-8125-FC5AA5B851D0}"/>
          </ac:spMkLst>
        </pc:spChg>
        <pc:spChg chg="mod">
          <ac:chgData name="Egle Kalasnikovaite" userId="062d4a7a-f393-4074-bf4e-7a7e70ec959d" providerId="ADAL" clId="{2E4FD718-CAE7-4E9E-ABF2-B8B0A8E36B7F}" dt="2022-02-11T15:55:45.860" v="2191" actId="14100"/>
          <ac:spMkLst>
            <pc:docMk/>
            <pc:sldMk cId="4268286866" sldId="462"/>
            <ac:spMk id="70" creationId="{FE0ED578-935C-4054-BC99-28C242DCB930}"/>
          </ac:spMkLst>
        </pc:spChg>
        <pc:spChg chg="del">
          <ac:chgData name="Egle Kalasnikovaite" userId="062d4a7a-f393-4074-bf4e-7a7e70ec959d" providerId="ADAL" clId="{2E4FD718-CAE7-4E9E-ABF2-B8B0A8E36B7F}" dt="2022-02-11T15:21:31.784" v="2082" actId="478"/>
          <ac:spMkLst>
            <pc:docMk/>
            <pc:sldMk cId="4268286866" sldId="462"/>
            <ac:spMk id="72" creationId="{4FEE95EE-976C-42C6-A9A7-26ECEE6DCBFD}"/>
          </ac:spMkLst>
        </pc:spChg>
        <pc:spChg chg="mod">
          <ac:chgData name="Egle Kalasnikovaite" userId="062d4a7a-f393-4074-bf4e-7a7e70ec959d" providerId="ADAL" clId="{2E4FD718-CAE7-4E9E-ABF2-B8B0A8E36B7F}" dt="2022-02-11T15:55:45.860" v="2191" actId="14100"/>
          <ac:spMkLst>
            <pc:docMk/>
            <pc:sldMk cId="4268286866" sldId="462"/>
            <ac:spMk id="74" creationId="{6BA1FD68-7BC3-4236-A28F-1942BBE36A92}"/>
          </ac:spMkLst>
        </pc:spChg>
        <pc:grpChg chg="del">
          <ac:chgData name="Egle Kalasnikovaite" userId="062d4a7a-f393-4074-bf4e-7a7e70ec959d" providerId="ADAL" clId="{2E4FD718-CAE7-4E9E-ABF2-B8B0A8E36B7F}" dt="2022-02-11T15:12:25.713" v="2047" actId="478"/>
          <ac:grpSpMkLst>
            <pc:docMk/>
            <pc:sldMk cId="4268286866" sldId="462"/>
            <ac:grpSpMk id="36" creationId="{ADEE0810-9935-4643-89FE-33606C636F54}"/>
          </ac:grpSpMkLst>
        </pc:grpChg>
        <pc:grpChg chg="add mod">
          <ac:chgData name="Egle Kalasnikovaite" userId="062d4a7a-f393-4074-bf4e-7a7e70ec959d" providerId="ADAL" clId="{2E4FD718-CAE7-4E9E-ABF2-B8B0A8E36B7F}" dt="2022-02-11T15:15:44.453" v="2065" actId="1076"/>
          <ac:grpSpMkLst>
            <pc:docMk/>
            <pc:sldMk cId="4268286866" sldId="462"/>
            <ac:grpSpMk id="43" creationId="{0AD71B0B-7B92-4778-92A3-72AE3BD35E25}"/>
          </ac:grpSpMkLst>
        </pc:grpChg>
        <pc:grpChg chg="mod">
          <ac:chgData name="Egle Kalasnikovaite" userId="062d4a7a-f393-4074-bf4e-7a7e70ec959d" providerId="ADAL" clId="{2E4FD718-CAE7-4E9E-ABF2-B8B0A8E36B7F}" dt="2022-02-11T15:15:22.088" v="2063" actId="14100"/>
          <ac:grpSpMkLst>
            <pc:docMk/>
            <pc:sldMk cId="4268286866" sldId="462"/>
            <ac:grpSpMk id="46" creationId="{4313B0BC-DEAF-4320-BB35-EE66F54326B0}"/>
          </ac:grpSpMkLst>
        </pc:grpChg>
        <pc:grpChg chg="mod">
          <ac:chgData name="Egle Kalasnikovaite" userId="062d4a7a-f393-4074-bf4e-7a7e70ec959d" providerId="ADAL" clId="{2E4FD718-CAE7-4E9E-ABF2-B8B0A8E36B7F}" dt="2022-02-11T15:56:50.480" v="2193" actId="1076"/>
          <ac:grpSpMkLst>
            <pc:docMk/>
            <pc:sldMk cId="4268286866" sldId="462"/>
            <ac:grpSpMk id="55" creationId="{5B2FD58A-EAAC-43F0-8CA6-AA65447DAAD0}"/>
          </ac:grpSpMkLst>
        </pc:grpChg>
      </pc:sldChg>
      <pc:sldChg chg="delSp modSp add mod">
        <pc:chgData name="Egle Kalasnikovaite" userId="062d4a7a-f393-4074-bf4e-7a7e70ec959d" providerId="ADAL" clId="{2E4FD718-CAE7-4E9E-ABF2-B8B0A8E36B7F}" dt="2022-02-11T16:15:55.391" v="2216" actId="12"/>
        <pc:sldMkLst>
          <pc:docMk/>
          <pc:sldMk cId="1860005955" sldId="463"/>
        </pc:sldMkLst>
        <pc:spChg chg="mod">
          <ac:chgData name="Egle Kalasnikovaite" userId="062d4a7a-f393-4074-bf4e-7a7e70ec959d" providerId="ADAL" clId="{2E4FD718-CAE7-4E9E-ABF2-B8B0A8E36B7F}" dt="2022-02-11T15:29:18.247" v="2135" actId="1076"/>
          <ac:spMkLst>
            <pc:docMk/>
            <pc:sldMk cId="1860005955" sldId="463"/>
            <ac:spMk id="2" creationId="{CD8CF473-A24A-4CF8-9BAD-D2F5AB51982D}"/>
          </ac:spMkLst>
        </pc:spChg>
        <pc:spChg chg="mod">
          <ac:chgData name="Egle Kalasnikovaite" userId="062d4a7a-f393-4074-bf4e-7a7e70ec959d" providerId="ADAL" clId="{2E4FD718-CAE7-4E9E-ABF2-B8B0A8E36B7F}" dt="2022-02-11T15:26:48.707" v="2126" actId="207"/>
          <ac:spMkLst>
            <pc:docMk/>
            <pc:sldMk cId="1860005955" sldId="463"/>
            <ac:spMk id="6" creationId="{44DCF309-A576-4E02-BDDC-16E658D2E8F8}"/>
          </ac:spMkLst>
        </pc:spChg>
        <pc:spChg chg="mod">
          <ac:chgData name="Egle Kalasnikovaite" userId="062d4a7a-f393-4074-bf4e-7a7e70ec959d" providerId="ADAL" clId="{2E4FD718-CAE7-4E9E-ABF2-B8B0A8E36B7F}" dt="2022-02-11T15:26:54.092" v="2127" actId="207"/>
          <ac:spMkLst>
            <pc:docMk/>
            <pc:sldMk cId="1860005955" sldId="463"/>
            <ac:spMk id="7" creationId="{49FE8141-7AC9-4210-81A4-44D00BED890C}"/>
          </ac:spMkLst>
        </pc:spChg>
        <pc:spChg chg="mod">
          <ac:chgData name="Egle Kalasnikovaite" userId="062d4a7a-f393-4074-bf4e-7a7e70ec959d" providerId="ADAL" clId="{2E4FD718-CAE7-4E9E-ABF2-B8B0A8E36B7F}" dt="2022-02-11T15:26:41.458" v="2125"/>
          <ac:spMkLst>
            <pc:docMk/>
            <pc:sldMk cId="1860005955" sldId="463"/>
            <ac:spMk id="8" creationId="{D4BA0322-774D-45E2-995A-B7FBA65EA31F}"/>
          </ac:spMkLst>
        </pc:spChg>
        <pc:spChg chg="mod">
          <ac:chgData name="Egle Kalasnikovaite" userId="062d4a7a-f393-4074-bf4e-7a7e70ec959d" providerId="ADAL" clId="{2E4FD718-CAE7-4E9E-ABF2-B8B0A8E36B7F}" dt="2022-02-11T15:36:30.653" v="2162" actId="20577"/>
          <ac:spMkLst>
            <pc:docMk/>
            <pc:sldMk cId="1860005955" sldId="463"/>
            <ac:spMk id="15" creationId="{181E55F1-B897-496C-A203-2F9809E23881}"/>
          </ac:spMkLst>
        </pc:spChg>
        <pc:spChg chg="mod">
          <ac:chgData name="Egle Kalasnikovaite" userId="062d4a7a-f393-4074-bf4e-7a7e70ec959d" providerId="ADAL" clId="{2E4FD718-CAE7-4E9E-ABF2-B8B0A8E36B7F}" dt="2022-02-11T16:15:55.391" v="2216" actId="12"/>
          <ac:spMkLst>
            <pc:docMk/>
            <pc:sldMk cId="1860005955" sldId="463"/>
            <ac:spMk id="17" creationId="{5325A1A7-0F0C-44F3-8DFD-586133FCFBC2}"/>
          </ac:spMkLst>
        </pc:spChg>
        <pc:spChg chg="mod">
          <ac:chgData name="Egle Kalasnikovaite" userId="062d4a7a-f393-4074-bf4e-7a7e70ec959d" providerId="ADAL" clId="{2E4FD718-CAE7-4E9E-ABF2-B8B0A8E36B7F}" dt="2022-02-11T15:36:27.030" v="2161" actId="20577"/>
          <ac:spMkLst>
            <pc:docMk/>
            <pc:sldMk cId="1860005955" sldId="463"/>
            <ac:spMk id="48" creationId="{8E65E5A1-D897-451C-A948-D34178B37D20}"/>
          </ac:spMkLst>
        </pc:spChg>
        <pc:spChg chg="mod">
          <ac:chgData name="Egle Kalasnikovaite" userId="062d4a7a-f393-4074-bf4e-7a7e70ec959d" providerId="ADAL" clId="{2E4FD718-CAE7-4E9E-ABF2-B8B0A8E36B7F}" dt="2022-02-11T15:56:01.058" v="2192" actId="790"/>
          <ac:spMkLst>
            <pc:docMk/>
            <pc:sldMk cId="1860005955" sldId="463"/>
            <ac:spMk id="53" creationId="{A347CF0E-C2E2-44BD-81B2-6E6C77E718A9}"/>
          </ac:spMkLst>
        </pc:spChg>
        <pc:spChg chg="mod">
          <ac:chgData name="Egle Kalasnikovaite" userId="062d4a7a-f393-4074-bf4e-7a7e70ec959d" providerId="ADAL" clId="{2E4FD718-CAE7-4E9E-ABF2-B8B0A8E36B7F}" dt="2022-02-11T15:30:20.408" v="2137"/>
          <ac:spMkLst>
            <pc:docMk/>
            <pc:sldMk cId="1860005955" sldId="463"/>
            <ac:spMk id="55" creationId="{0D180A6D-CDDD-4645-A173-EC4A958A3970}"/>
          </ac:spMkLst>
        </pc:spChg>
        <pc:spChg chg="mod">
          <ac:chgData name="Egle Kalasnikovaite" userId="062d4a7a-f393-4074-bf4e-7a7e70ec959d" providerId="ADAL" clId="{2E4FD718-CAE7-4E9E-ABF2-B8B0A8E36B7F}" dt="2022-02-11T15:30:05.173" v="2136"/>
          <ac:spMkLst>
            <pc:docMk/>
            <pc:sldMk cId="1860005955" sldId="463"/>
            <ac:spMk id="56" creationId="{A564C084-E763-420B-8F8C-C44512C660C1}"/>
          </ac:spMkLst>
        </pc:spChg>
        <pc:grpChg chg="del">
          <ac:chgData name="Egle Kalasnikovaite" userId="062d4a7a-f393-4074-bf4e-7a7e70ec959d" providerId="ADAL" clId="{2E4FD718-CAE7-4E9E-ABF2-B8B0A8E36B7F}" dt="2022-02-11T15:41:35.819" v="2179" actId="478"/>
          <ac:grpSpMkLst>
            <pc:docMk/>
            <pc:sldMk cId="1860005955" sldId="463"/>
            <ac:grpSpMk id="16" creationId="{C1406930-A32C-4E1E-9552-17D94B020CB8}"/>
          </ac:grpSpMkLst>
        </pc:grpChg>
        <pc:grpChg chg="mod">
          <ac:chgData name="Egle Kalasnikovaite" userId="062d4a7a-f393-4074-bf4e-7a7e70ec959d" providerId="ADAL" clId="{2E4FD718-CAE7-4E9E-ABF2-B8B0A8E36B7F}" dt="2022-02-11T15:57:06.387" v="2201" actId="1035"/>
          <ac:grpSpMkLst>
            <pc:docMk/>
            <pc:sldMk cId="1860005955" sldId="463"/>
            <ac:grpSpMk id="49" creationId="{84DF5076-1DA5-4282-925D-B07553CA42E4}"/>
          </ac:grpSpMkLst>
        </pc:grpChg>
        <pc:cxnChg chg="mod">
          <ac:chgData name="Egle Kalasnikovaite" userId="062d4a7a-f393-4074-bf4e-7a7e70ec959d" providerId="ADAL" clId="{2E4FD718-CAE7-4E9E-ABF2-B8B0A8E36B7F}" dt="2022-02-11T15:35:09.697" v="2160" actId="1076"/>
          <ac:cxnSpMkLst>
            <pc:docMk/>
            <pc:sldMk cId="1860005955" sldId="463"/>
            <ac:cxnSpMk id="51" creationId="{7479AB89-6B83-46C1-96CB-2EA50C2AC17B}"/>
          </ac:cxnSpMkLst>
        </pc:cxnChg>
      </pc:sldChg>
      <pc:sldChg chg="modSp mod">
        <pc:chgData name="Egle Kalasnikovaite" userId="062d4a7a-f393-4074-bf4e-7a7e70ec959d" providerId="ADAL" clId="{2E4FD718-CAE7-4E9E-ABF2-B8B0A8E36B7F}" dt="2022-02-11T16:12:32.469" v="2205" actId="12"/>
        <pc:sldMkLst>
          <pc:docMk/>
          <pc:sldMk cId="1153953872" sldId="465"/>
        </pc:sldMkLst>
        <pc:spChg chg="mod">
          <ac:chgData name="Egle Kalasnikovaite" userId="062d4a7a-f393-4074-bf4e-7a7e70ec959d" providerId="ADAL" clId="{2E4FD718-CAE7-4E9E-ABF2-B8B0A8E36B7F}" dt="2022-02-11T16:12:32.469" v="2205" actId="12"/>
          <ac:spMkLst>
            <pc:docMk/>
            <pc:sldMk cId="1153953872" sldId="465"/>
            <ac:spMk id="53" creationId="{A347CF0E-C2E2-44BD-81B2-6E6C77E718A9}"/>
          </ac:spMkLst>
        </pc:spChg>
      </pc:sldChg>
      <pc:sldChg chg="modSp mod">
        <pc:chgData name="Egle Kalasnikovaite" userId="062d4a7a-f393-4074-bf4e-7a7e70ec959d" providerId="ADAL" clId="{2E4FD718-CAE7-4E9E-ABF2-B8B0A8E36B7F}" dt="2022-02-11T16:13:07.828" v="2208" actId="12"/>
        <pc:sldMkLst>
          <pc:docMk/>
          <pc:sldMk cId="193828604" sldId="466"/>
        </pc:sldMkLst>
        <pc:spChg chg="mod">
          <ac:chgData name="Egle Kalasnikovaite" userId="062d4a7a-f393-4074-bf4e-7a7e70ec959d" providerId="ADAL" clId="{2E4FD718-CAE7-4E9E-ABF2-B8B0A8E36B7F}" dt="2022-02-11T16:12:51.686" v="2206" actId="12"/>
          <ac:spMkLst>
            <pc:docMk/>
            <pc:sldMk cId="193828604" sldId="466"/>
            <ac:spMk id="17" creationId="{5325A1A7-0F0C-44F3-8DFD-586133FCFBC2}"/>
          </ac:spMkLst>
        </pc:spChg>
        <pc:spChg chg="mod">
          <ac:chgData name="Egle Kalasnikovaite" userId="062d4a7a-f393-4074-bf4e-7a7e70ec959d" providerId="ADAL" clId="{2E4FD718-CAE7-4E9E-ABF2-B8B0A8E36B7F}" dt="2022-02-11T16:13:07.828" v="2208" actId="12"/>
          <ac:spMkLst>
            <pc:docMk/>
            <pc:sldMk cId="193828604" sldId="466"/>
            <ac:spMk id="53" creationId="{A347CF0E-C2E2-44BD-81B2-6E6C77E718A9}"/>
          </ac:spMkLst>
        </pc:spChg>
      </pc:sldChg>
      <pc:sldChg chg="modSp mod">
        <pc:chgData name="Egle Kalasnikovaite" userId="062d4a7a-f393-4074-bf4e-7a7e70ec959d" providerId="ADAL" clId="{2E4FD718-CAE7-4E9E-ABF2-B8B0A8E36B7F}" dt="2022-02-11T16:13:36.221" v="2211" actId="12"/>
        <pc:sldMkLst>
          <pc:docMk/>
          <pc:sldMk cId="968355729" sldId="467"/>
        </pc:sldMkLst>
        <pc:spChg chg="mod">
          <ac:chgData name="Egle Kalasnikovaite" userId="062d4a7a-f393-4074-bf4e-7a7e70ec959d" providerId="ADAL" clId="{2E4FD718-CAE7-4E9E-ABF2-B8B0A8E36B7F}" dt="2022-02-11T16:13:21.454" v="2209" actId="12"/>
          <ac:spMkLst>
            <pc:docMk/>
            <pc:sldMk cId="968355729" sldId="467"/>
            <ac:spMk id="17" creationId="{3943F60A-B91C-4B98-9E64-78FCCC2F3D54}"/>
          </ac:spMkLst>
        </pc:spChg>
        <pc:spChg chg="mod">
          <ac:chgData name="Egle Kalasnikovaite" userId="062d4a7a-f393-4074-bf4e-7a7e70ec959d" providerId="ADAL" clId="{2E4FD718-CAE7-4E9E-ABF2-B8B0A8E36B7F}" dt="2022-02-11T16:13:36.221" v="2211" actId="12"/>
          <ac:spMkLst>
            <pc:docMk/>
            <pc:sldMk cId="968355729" sldId="467"/>
            <ac:spMk id="53" creationId="{A347CF0E-C2E2-44BD-81B2-6E6C77E718A9}"/>
          </ac:spMkLst>
        </pc:spChg>
      </pc:sldChg>
      <pc:sldChg chg="modSp mod">
        <pc:chgData name="Egle Kalasnikovaite" userId="062d4a7a-f393-4074-bf4e-7a7e70ec959d" providerId="ADAL" clId="{2E4FD718-CAE7-4E9E-ABF2-B8B0A8E36B7F}" dt="2022-02-11T16:13:57.015" v="2213" actId="12"/>
        <pc:sldMkLst>
          <pc:docMk/>
          <pc:sldMk cId="3400783739" sldId="468"/>
        </pc:sldMkLst>
        <pc:spChg chg="mod">
          <ac:chgData name="Egle Kalasnikovaite" userId="062d4a7a-f393-4074-bf4e-7a7e70ec959d" providerId="ADAL" clId="{2E4FD718-CAE7-4E9E-ABF2-B8B0A8E36B7F}" dt="2022-02-11T16:13:57.015" v="2213" actId="12"/>
          <ac:spMkLst>
            <pc:docMk/>
            <pc:sldMk cId="3400783739" sldId="468"/>
            <ac:spMk id="28" creationId="{8D157A12-84EA-394F-8B5B-2F8EAB396662}"/>
          </ac:spMkLst>
        </pc:spChg>
        <pc:spChg chg="mod">
          <ac:chgData name="Egle Kalasnikovaite" userId="062d4a7a-f393-4074-bf4e-7a7e70ec959d" providerId="ADAL" clId="{2E4FD718-CAE7-4E9E-ABF2-B8B0A8E36B7F}" dt="2022-02-11T16:13:48.672" v="2212" actId="12"/>
          <ac:spMkLst>
            <pc:docMk/>
            <pc:sldMk cId="3400783739" sldId="468"/>
            <ac:spMk id="53" creationId="{A347CF0E-C2E2-44BD-81B2-6E6C77E718A9}"/>
          </ac:spMkLst>
        </pc:spChg>
      </pc:sldChg>
    </pc:docChg>
  </pc:docChgLst>
  <pc:docChgLst>
    <pc:chgData name="SC Adm" userId="S::administrator@smartcontinent.com::2db39a3f-6149-4290-89f0-e474f71966dd" providerId="AD" clId="Web-{887C4924-98EA-C92E-BA70-9C466F9E7F51}"/>
    <pc:docChg chg="addSld delSld modSld">
      <pc:chgData name="SC Adm" userId="S::administrator@smartcontinent.com::2db39a3f-6149-4290-89f0-e474f71966dd" providerId="AD" clId="Web-{887C4924-98EA-C92E-BA70-9C466F9E7F51}" dt="2022-02-11T14:06:24.396" v="1136" actId="1076"/>
      <pc:docMkLst>
        <pc:docMk/>
      </pc:docMkLst>
      <pc:sldChg chg="delSp del">
        <pc:chgData name="SC Adm" userId="S::administrator@smartcontinent.com::2db39a3f-6149-4290-89f0-e474f71966dd" providerId="AD" clId="Web-{887C4924-98EA-C92E-BA70-9C466F9E7F51}" dt="2022-02-11T14:01:11.170" v="1016"/>
        <pc:sldMkLst>
          <pc:docMk/>
          <pc:sldMk cId="225908405" sldId="414"/>
        </pc:sldMkLst>
        <pc:picChg chg="del">
          <ac:chgData name="SC Adm" userId="S::administrator@smartcontinent.com::2db39a3f-6149-4290-89f0-e474f71966dd" providerId="AD" clId="Web-{887C4924-98EA-C92E-BA70-9C466F9E7F51}" dt="2022-02-11T14:01:01.858" v="1015"/>
          <ac:picMkLst>
            <pc:docMk/>
            <pc:sldMk cId="225908405" sldId="414"/>
            <ac:picMk id="5" creationId="{0B6E8AEA-FF7A-4563-BF7F-44E4A5DEE908}"/>
          </ac:picMkLst>
        </pc:picChg>
      </pc:sldChg>
      <pc:sldChg chg="modSp">
        <pc:chgData name="SC Adm" userId="S::administrator@smartcontinent.com::2db39a3f-6149-4290-89f0-e474f71966dd" providerId="AD" clId="Web-{887C4924-98EA-C92E-BA70-9C466F9E7F51}" dt="2022-02-11T14:02:29.922" v="1053" actId="1076"/>
        <pc:sldMkLst>
          <pc:docMk/>
          <pc:sldMk cId="3765793736" sldId="436"/>
        </pc:sldMkLst>
        <pc:spChg chg="mod">
          <ac:chgData name="SC Adm" userId="S::administrator@smartcontinent.com::2db39a3f-6149-4290-89f0-e474f71966dd" providerId="AD" clId="Web-{887C4924-98EA-C92E-BA70-9C466F9E7F51}" dt="2022-02-11T14:02:29.922" v="1053" actId="1076"/>
          <ac:spMkLst>
            <pc:docMk/>
            <pc:sldMk cId="3765793736" sldId="436"/>
            <ac:spMk id="18" creationId="{8F508EF2-9BE8-458E-9330-99BC8D833BE5}"/>
          </ac:spMkLst>
        </pc:spChg>
      </pc:sldChg>
      <pc:sldChg chg="addSp delSp modSp">
        <pc:chgData name="SC Adm" userId="S::administrator@smartcontinent.com::2db39a3f-6149-4290-89f0-e474f71966dd" providerId="AD" clId="Web-{887C4924-98EA-C92E-BA70-9C466F9E7F51}" dt="2022-02-11T14:01:29.499" v="1020"/>
        <pc:sldMkLst>
          <pc:docMk/>
          <pc:sldMk cId="2915267452" sldId="446"/>
        </pc:sldMkLst>
        <pc:spChg chg="add del mod">
          <ac:chgData name="SC Adm" userId="S::administrator@smartcontinent.com::2db39a3f-6149-4290-89f0-e474f71966dd" providerId="AD" clId="Web-{887C4924-98EA-C92E-BA70-9C466F9E7F51}" dt="2022-02-11T13:35:25.369" v="280"/>
          <ac:spMkLst>
            <pc:docMk/>
            <pc:sldMk cId="2915267452" sldId="446"/>
            <ac:spMk id="2" creationId="{7518D1F7-CDA0-4A34-B00E-55863F30F4EB}"/>
          </ac:spMkLst>
        </pc:spChg>
        <pc:spChg chg="add del mod">
          <ac:chgData name="SC Adm" userId="S::administrator@smartcontinent.com::2db39a3f-6149-4290-89f0-e474f71966dd" providerId="AD" clId="Web-{887C4924-98EA-C92E-BA70-9C466F9E7F51}" dt="2022-02-11T13:23:10.508" v="63"/>
          <ac:spMkLst>
            <pc:docMk/>
            <pc:sldMk cId="2915267452" sldId="446"/>
            <ac:spMk id="3" creationId="{A5C116AD-D9D9-4806-943D-B431C368500D}"/>
          </ac:spMkLst>
        </pc:spChg>
        <pc:spChg chg="mod">
          <ac:chgData name="SC Adm" userId="S::administrator@smartcontinent.com::2db39a3f-6149-4290-89f0-e474f71966dd" providerId="AD" clId="Web-{887C4924-98EA-C92E-BA70-9C466F9E7F51}" dt="2022-02-11T13:51:40.704" v="747"/>
          <ac:spMkLst>
            <pc:docMk/>
            <pc:sldMk cId="2915267452" sldId="446"/>
            <ac:spMk id="8" creationId="{D4BA0322-774D-45E2-995A-B7FBA65EA31F}"/>
          </ac:spMkLst>
        </pc:spChg>
        <pc:spChg chg="mod">
          <ac:chgData name="SC Adm" userId="S::administrator@smartcontinent.com::2db39a3f-6149-4290-89f0-e474f71966dd" providerId="AD" clId="Web-{887C4924-98EA-C92E-BA70-9C466F9E7F51}" dt="2022-02-11T13:25:24.808" v="82" actId="1076"/>
          <ac:spMkLst>
            <pc:docMk/>
            <pc:sldMk cId="2915267452" sldId="446"/>
            <ac:spMk id="9" creationId="{F51291C2-9857-4C2C-9471-AD0ABA154DCA}"/>
          </ac:spMkLst>
        </pc:spChg>
        <pc:spChg chg="del mod">
          <ac:chgData name="SC Adm" userId="S::administrator@smartcontinent.com::2db39a3f-6149-4290-89f0-e474f71966dd" providerId="AD" clId="Web-{887C4924-98EA-C92E-BA70-9C466F9E7F51}" dt="2022-02-11T13:28:35.172" v="117"/>
          <ac:spMkLst>
            <pc:docMk/>
            <pc:sldMk cId="2915267452" sldId="446"/>
            <ac:spMk id="10" creationId="{C50B65FB-94CB-4D15-B8C3-846241FD7AC6}"/>
          </ac:spMkLst>
        </pc:spChg>
        <pc:spChg chg="del">
          <ac:chgData name="SC Adm" userId="S::administrator@smartcontinent.com::2db39a3f-6149-4290-89f0-e474f71966dd" providerId="AD" clId="Web-{887C4924-98EA-C92E-BA70-9C466F9E7F51}" dt="2022-02-11T13:18:26.955" v="16"/>
          <ac:spMkLst>
            <pc:docMk/>
            <pc:sldMk cId="2915267452" sldId="446"/>
            <ac:spMk id="11" creationId="{DE9B2B0C-5A12-40E2-B0D1-B1E924B63216}"/>
          </ac:spMkLst>
        </pc:spChg>
        <pc:spChg chg="add del mod">
          <ac:chgData name="SC Adm" userId="S::administrator@smartcontinent.com::2db39a3f-6149-4290-89f0-e474f71966dd" providerId="AD" clId="Web-{887C4924-98EA-C92E-BA70-9C466F9E7F51}" dt="2022-02-11T13:26:07.075" v="87"/>
          <ac:spMkLst>
            <pc:docMk/>
            <pc:sldMk cId="2915267452" sldId="446"/>
            <ac:spMk id="12" creationId="{43C6D044-B607-431F-ADF1-B23459BA20D1}"/>
          </ac:spMkLst>
        </pc:spChg>
        <pc:spChg chg="add del mod">
          <ac:chgData name="SC Adm" userId="S::administrator@smartcontinent.com::2db39a3f-6149-4290-89f0-e474f71966dd" providerId="AD" clId="Web-{887C4924-98EA-C92E-BA70-9C466F9E7F51}" dt="2022-02-11T13:26:55.810" v="95"/>
          <ac:spMkLst>
            <pc:docMk/>
            <pc:sldMk cId="2915267452" sldId="446"/>
            <ac:spMk id="13" creationId="{536834C2-B335-43AA-BC06-7E18D8C16A9C}"/>
          </ac:spMkLst>
        </pc:spChg>
        <pc:spChg chg="add del mod">
          <ac:chgData name="SC Adm" userId="S::administrator@smartcontinent.com::2db39a3f-6149-4290-89f0-e474f71966dd" providerId="AD" clId="Web-{887C4924-98EA-C92E-BA70-9C466F9E7F51}" dt="2022-02-11T13:22:21.007" v="51"/>
          <ac:spMkLst>
            <pc:docMk/>
            <pc:sldMk cId="2915267452" sldId="446"/>
            <ac:spMk id="15" creationId="{A3B3B9BE-8026-45DE-849F-2ACE9694B654}"/>
          </ac:spMkLst>
        </pc:spChg>
        <pc:spChg chg="add del mod">
          <ac:chgData name="SC Adm" userId="S::administrator@smartcontinent.com::2db39a3f-6149-4290-89f0-e474f71966dd" providerId="AD" clId="Web-{887C4924-98EA-C92E-BA70-9C466F9E7F51}" dt="2022-02-11T13:23:22.633" v="66"/>
          <ac:spMkLst>
            <pc:docMk/>
            <pc:sldMk cId="2915267452" sldId="446"/>
            <ac:spMk id="16" creationId="{24C1BAFC-3470-495C-B65B-AF3659EEC17F}"/>
          </ac:spMkLst>
        </pc:spChg>
        <pc:spChg chg="add mod">
          <ac:chgData name="SC Adm" userId="S::administrator@smartcontinent.com::2db39a3f-6149-4290-89f0-e474f71966dd" providerId="AD" clId="Web-{887C4924-98EA-C92E-BA70-9C466F9E7F51}" dt="2022-02-11T13:33:37.195" v="183" actId="14100"/>
          <ac:spMkLst>
            <pc:docMk/>
            <pc:sldMk cId="2915267452" sldId="446"/>
            <ac:spMk id="17" creationId="{3943F60A-B91C-4B98-9E64-78FCCC2F3D54}"/>
          </ac:spMkLst>
        </pc:spChg>
        <pc:spChg chg="add mod">
          <ac:chgData name="SC Adm" userId="S::administrator@smartcontinent.com::2db39a3f-6149-4290-89f0-e474f71966dd" providerId="AD" clId="Web-{887C4924-98EA-C92E-BA70-9C466F9E7F51}" dt="2022-02-11T13:35:14.994" v="279"/>
          <ac:spMkLst>
            <pc:docMk/>
            <pc:sldMk cId="2915267452" sldId="446"/>
            <ac:spMk id="19" creationId="{6761DB2B-9A99-4B99-905C-3962E3DFE434}"/>
          </ac:spMkLst>
        </pc:spChg>
        <pc:spChg chg="add del mod">
          <ac:chgData name="SC Adm" userId="S::administrator@smartcontinent.com::2db39a3f-6149-4290-89f0-e474f71966dd" providerId="AD" clId="Web-{887C4924-98EA-C92E-BA70-9C466F9E7F51}" dt="2022-02-11T13:28:17.109" v="114"/>
          <ac:spMkLst>
            <pc:docMk/>
            <pc:sldMk cId="2915267452" sldId="446"/>
            <ac:spMk id="23" creationId="{96834FE3-7554-4C63-AAD0-74C2C2E03759}"/>
          </ac:spMkLst>
        </pc:spChg>
        <pc:spChg chg="mod">
          <ac:chgData name="SC Adm" userId="S::administrator@smartcontinent.com::2db39a3f-6149-4290-89f0-e474f71966dd" providerId="AD" clId="Web-{887C4924-98EA-C92E-BA70-9C466F9E7F51}" dt="2022-02-11T13:31:18.066" v="178"/>
          <ac:spMkLst>
            <pc:docMk/>
            <pc:sldMk cId="2915267452" sldId="446"/>
            <ac:spMk id="26" creationId="{75909F3D-47DF-49E5-B8AD-69EEF5DB3147}"/>
          </ac:spMkLst>
        </pc:spChg>
        <pc:spChg chg="add mod">
          <ac:chgData name="SC Adm" userId="S::administrator@smartcontinent.com::2db39a3f-6149-4290-89f0-e474f71966dd" providerId="AD" clId="Web-{887C4924-98EA-C92E-BA70-9C466F9E7F51}" dt="2022-02-11T13:30:16.127" v="149" actId="20577"/>
          <ac:spMkLst>
            <pc:docMk/>
            <pc:sldMk cId="2915267452" sldId="446"/>
            <ac:spMk id="31" creationId="{3594246A-D1E7-4360-9D2D-BE94E233B41D}"/>
          </ac:spMkLst>
        </pc:spChg>
        <pc:spChg chg="add del mod">
          <ac:chgData name="SC Adm" userId="S::administrator@smartcontinent.com::2db39a3f-6149-4290-89f0-e474f71966dd" providerId="AD" clId="Web-{887C4924-98EA-C92E-BA70-9C466F9E7F51}" dt="2022-02-11T13:38:43.545" v="452"/>
          <ac:spMkLst>
            <pc:docMk/>
            <pc:sldMk cId="2915267452" sldId="446"/>
            <ac:spMk id="32" creationId="{C736D0AF-592C-4CBB-9FD1-A4630395CC0C}"/>
          </ac:spMkLst>
        </pc:spChg>
        <pc:spChg chg="add mod">
          <ac:chgData name="SC Adm" userId="S::administrator@smartcontinent.com::2db39a3f-6149-4290-89f0-e474f71966dd" providerId="AD" clId="Web-{887C4924-98EA-C92E-BA70-9C466F9E7F51}" dt="2022-02-11T13:35:06.931" v="278" actId="1076"/>
          <ac:spMkLst>
            <pc:docMk/>
            <pc:sldMk cId="2915267452" sldId="446"/>
            <ac:spMk id="33" creationId="{329DBB42-0C2E-44CE-AEBF-0E418ED6416A}"/>
          </ac:spMkLst>
        </pc:spChg>
        <pc:spChg chg="add mod">
          <ac:chgData name="SC Adm" userId="S::administrator@smartcontinent.com::2db39a3f-6149-4290-89f0-e474f71966dd" providerId="AD" clId="Web-{887C4924-98EA-C92E-BA70-9C466F9E7F51}" dt="2022-02-11T13:34:58.931" v="277" actId="1076"/>
          <ac:spMkLst>
            <pc:docMk/>
            <pc:sldMk cId="2915267452" sldId="446"/>
            <ac:spMk id="34" creationId="{076A2663-7BC0-48F1-BD18-AA10EBD22B10}"/>
          </ac:spMkLst>
        </pc:spChg>
        <pc:spChg chg="mod topLvl">
          <ac:chgData name="SC Adm" userId="S::administrator@smartcontinent.com::2db39a3f-6149-4290-89f0-e474f71966dd" providerId="AD" clId="Web-{887C4924-98EA-C92E-BA70-9C466F9E7F51}" dt="2022-02-11T13:59:05.839" v="981" actId="1076"/>
          <ac:spMkLst>
            <pc:docMk/>
            <pc:sldMk cId="2915267452" sldId="446"/>
            <ac:spMk id="38" creationId="{787DCCBB-04AD-45F3-814A-F0BE45E2CFE9}"/>
          </ac:spMkLst>
        </pc:spChg>
        <pc:spChg chg="del mod topLvl">
          <ac:chgData name="SC Adm" userId="S::administrator@smartcontinent.com::2db39a3f-6149-4290-89f0-e474f71966dd" providerId="AD" clId="Web-{887C4924-98EA-C92E-BA70-9C466F9E7F51}" dt="2022-02-11T13:37:16.481" v="409"/>
          <ac:spMkLst>
            <pc:docMk/>
            <pc:sldMk cId="2915267452" sldId="446"/>
            <ac:spMk id="39" creationId="{BA1C365B-5FD8-42EB-B73D-E705CB749FB0}"/>
          </ac:spMkLst>
        </pc:spChg>
        <pc:spChg chg="add mod">
          <ac:chgData name="SC Adm" userId="S::administrator@smartcontinent.com::2db39a3f-6149-4290-89f0-e474f71966dd" providerId="AD" clId="Web-{887C4924-98EA-C92E-BA70-9C466F9E7F51}" dt="2022-02-11T13:56:13.070" v="876" actId="20577"/>
          <ac:spMkLst>
            <pc:docMk/>
            <pc:sldMk cId="2915267452" sldId="446"/>
            <ac:spMk id="40" creationId="{DD3E6B97-7117-4711-844A-EB2B78B3936F}"/>
          </ac:spMkLst>
        </pc:spChg>
        <pc:spChg chg="add mod">
          <ac:chgData name="SC Adm" userId="S::administrator@smartcontinent.com::2db39a3f-6149-4290-89f0-e474f71966dd" providerId="AD" clId="Web-{887C4924-98EA-C92E-BA70-9C466F9E7F51}" dt="2022-02-11T13:43:03.254" v="498" actId="1076"/>
          <ac:spMkLst>
            <pc:docMk/>
            <pc:sldMk cId="2915267452" sldId="446"/>
            <ac:spMk id="41" creationId="{D38A1F4D-8F1E-4C4B-B6D4-7D7F9B418D3D}"/>
          </ac:spMkLst>
        </pc:spChg>
        <pc:spChg chg="add mod">
          <ac:chgData name="SC Adm" userId="S::administrator@smartcontinent.com::2db39a3f-6149-4290-89f0-e474f71966dd" providerId="AD" clId="Web-{887C4924-98EA-C92E-BA70-9C466F9E7F51}" dt="2022-02-11T13:43:06.380" v="499" actId="1076"/>
          <ac:spMkLst>
            <pc:docMk/>
            <pc:sldMk cId="2915267452" sldId="446"/>
            <ac:spMk id="42" creationId="{D78A8041-6EE4-4A39-9D3B-6C16E8AB8610}"/>
          </ac:spMkLst>
        </pc:spChg>
        <pc:spChg chg="add mod">
          <ac:chgData name="SC Adm" userId="S::administrator@smartcontinent.com::2db39a3f-6149-4290-89f0-e474f71966dd" providerId="AD" clId="Web-{887C4924-98EA-C92E-BA70-9C466F9E7F51}" dt="2022-02-11T13:40:15.891" v="477" actId="1076"/>
          <ac:spMkLst>
            <pc:docMk/>
            <pc:sldMk cId="2915267452" sldId="446"/>
            <ac:spMk id="44" creationId="{38727459-8AC1-488A-AFE8-9BECF06AF602}"/>
          </ac:spMkLst>
        </pc:spChg>
        <pc:spChg chg="add mod">
          <ac:chgData name="SC Adm" userId="S::administrator@smartcontinent.com::2db39a3f-6149-4290-89f0-e474f71966dd" providerId="AD" clId="Web-{887C4924-98EA-C92E-BA70-9C466F9E7F51}" dt="2022-02-11T13:43:17.255" v="500" actId="1076"/>
          <ac:spMkLst>
            <pc:docMk/>
            <pc:sldMk cId="2915267452" sldId="446"/>
            <ac:spMk id="45" creationId="{59F7A564-AD83-4869-A1F3-787398A274EB}"/>
          </ac:spMkLst>
        </pc:spChg>
        <pc:spChg chg="add mod">
          <ac:chgData name="SC Adm" userId="S::administrator@smartcontinent.com::2db39a3f-6149-4290-89f0-e474f71966dd" providerId="AD" clId="Web-{887C4924-98EA-C92E-BA70-9C466F9E7F51}" dt="2022-02-11T13:59:05.855" v="982" actId="1076"/>
          <ac:spMkLst>
            <pc:docMk/>
            <pc:sldMk cId="2915267452" sldId="446"/>
            <ac:spMk id="47" creationId="{48889598-272E-46E7-9D8C-9F5238F35226}"/>
          </ac:spMkLst>
        </pc:spChg>
        <pc:spChg chg="add del mod">
          <ac:chgData name="SC Adm" userId="S::administrator@smartcontinent.com::2db39a3f-6149-4290-89f0-e474f71966dd" providerId="AD" clId="Web-{887C4924-98EA-C92E-BA70-9C466F9E7F51}" dt="2022-02-11T13:44:02.990" v="503"/>
          <ac:spMkLst>
            <pc:docMk/>
            <pc:sldMk cId="2915267452" sldId="446"/>
            <ac:spMk id="48" creationId="{124C27CB-328A-4893-BBAB-3D656AEAD084}"/>
          </ac:spMkLst>
        </pc:spChg>
        <pc:spChg chg="mod">
          <ac:chgData name="SC Adm" userId="S::administrator@smartcontinent.com::2db39a3f-6149-4290-89f0-e474f71966dd" providerId="AD" clId="Web-{887C4924-98EA-C92E-BA70-9C466F9E7F51}" dt="2022-02-11T13:53:33.628" v="787" actId="20577"/>
          <ac:spMkLst>
            <pc:docMk/>
            <pc:sldMk cId="2915267452" sldId="446"/>
            <ac:spMk id="50" creationId="{DBF40C3F-D451-490C-B81C-F85C1737C158}"/>
          </ac:spMkLst>
        </pc:spChg>
        <pc:spChg chg="mod topLvl">
          <ac:chgData name="SC Adm" userId="S::administrator@smartcontinent.com::2db39a3f-6149-4290-89f0-e474f71966dd" providerId="AD" clId="Web-{887C4924-98EA-C92E-BA70-9C466F9E7F51}" dt="2022-02-11T13:59:13.605" v="985" actId="1076"/>
          <ac:spMkLst>
            <pc:docMk/>
            <pc:sldMk cId="2915267452" sldId="446"/>
            <ac:spMk id="53" creationId="{A347CF0E-C2E2-44BD-81B2-6E6C77E718A9}"/>
          </ac:spMkLst>
        </pc:spChg>
        <pc:spChg chg="del topLvl">
          <ac:chgData name="SC Adm" userId="S::administrator@smartcontinent.com::2db39a3f-6149-4290-89f0-e474f71966dd" providerId="AD" clId="Web-{887C4924-98EA-C92E-BA70-9C466F9E7F51}" dt="2022-02-11T13:48:18.106" v="518"/>
          <ac:spMkLst>
            <pc:docMk/>
            <pc:sldMk cId="2915267452" sldId="446"/>
            <ac:spMk id="54" creationId="{15D9AE1D-F615-4B46-A338-F0668DB4D74D}"/>
          </ac:spMkLst>
        </pc:spChg>
        <pc:spChg chg="mod">
          <ac:chgData name="SC Adm" userId="S::administrator@smartcontinent.com::2db39a3f-6149-4290-89f0-e474f71966dd" providerId="AD" clId="Web-{887C4924-98EA-C92E-BA70-9C466F9E7F51}" dt="2022-02-11T13:54:52.896" v="821" actId="20577"/>
          <ac:spMkLst>
            <pc:docMk/>
            <pc:sldMk cId="2915267452" sldId="446"/>
            <ac:spMk id="56" creationId="{99A6280F-9012-4AE6-831B-39CCCB519AE5}"/>
          </ac:spMkLst>
        </pc:spChg>
        <pc:spChg chg="add del mod">
          <ac:chgData name="SC Adm" userId="S::administrator@smartcontinent.com::2db39a3f-6149-4290-89f0-e474f71966dd" providerId="AD" clId="Web-{887C4924-98EA-C92E-BA70-9C466F9E7F51}" dt="2022-02-11T13:54:56.599" v="822"/>
          <ac:spMkLst>
            <pc:docMk/>
            <pc:sldMk cId="2915267452" sldId="446"/>
            <ac:spMk id="58" creationId="{391C5A95-8354-44F0-9D51-8306176E49C4}"/>
          </ac:spMkLst>
        </pc:spChg>
        <pc:spChg chg="add mod">
          <ac:chgData name="SC Adm" userId="S::administrator@smartcontinent.com::2db39a3f-6149-4290-89f0-e474f71966dd" providerId="AD" clId="Web-{887C4924-98EA-C92E-BA70-9C466F9E7F51}" dt="2022-02-11T13:59:21.824" v="988" actId="1076"/>
          <ac:spMkLst>
            <pc:docMk/>
            <pc:sldMk cId="2915267452" sldId="446"/>
            <ac:spMk id="60" creationId="{BCE3AAE7-D6B4-43D1-B29C-1016ADA97EB2}"/>
          </ac:spMkLst>
        </pc:spChg>
        <pc:spChg chg="add mod">
          <ac:chgData name="SC Adm" userId="S::administrator@smartcontinent.com::2db39a3f-6149-4290-89f0-e474f71966dd" providerId="AD" clId="Web-{887C4924-98EA-C92E-BA70-9C466F9E7F51}" dt="2022-02-11T13:59:21.855" v="989" actId="1076"/>
          <ac:spMkLst>
            <pc:docMk/>
            <pc:sldMk cId="2915267452" sldId="446"/>
            <ac:spMk id="62" creationId="{AE0E76A9-A998-4725-8A2E-B6F1E5CD3A22}"/>
          </ac:spMkLst>
        </pc:spChg>
        <pc:spChg chg="add mod">
          <ac:chgData name="SC Adm" userId="S::administrator@smartcontinent.com::2db39a3f-6149-4290-89f0-e474f71966dd" providerId="AD" clId="Web-{887C4924-98EA-C92E-BA70-9C466F9E7F51}" dt="2022-02-11T13:59:43.778" v="1000" actId="14100"/>
          <ac:spMkLst>
            <pc:docMk/>
            <pc:sldMk cId="2915267452" sldId="446"/>
            <ac:spMk id="64" creationId="{4AF32163-B136-45B2-9975-AA50D434CED3}"/>
          </ac:spMkLst>
        </pc:spChg>
        <pc:spChg chg="add mod">
          <ac:chgData name="SC Adm" userId="S::administrator@smartcontinent.com::2db39a3f-6149-4290-89f0-e474f71966dd" providerId="AD" clId="Web-{887C4924-98EA-C92E-BA70-9C466F9E7F51}" dt="2022-02-11T13:59:52.543" v="1002" actId="14100"/>
          <ac:spMkLst>
            <pc:docMk/>
            <pc:sldMk cId="2915267452" sldId="446"/>
            <ac:spMk id="66" creationId="{FD1C34E6-C313-46D2-BA44-B8D6766162CA}"/>
          </ac:spMkLst>
        </pc:spChg>
        <pc:spChg chg="add mod">
          <ac:chgData name="SC Adm" userId="S::administrator@smartcontinent.com::2db39a3f-6149-4290-89f0-e474f71966dd" providerId="AD" clId="Web-{887C4924-98EA-C92E-BA70-9C466F9E7F51}" dt="2022-02-11T14:00:32.576" v="1013" actId="14100"/>
          <ac:spMkLst>
            <pc:docMk/>
            <pc:sldMk cId="2915267452" sldId="446"/>
            <ac:spMk id="68" creationId="{DC51C86B-4691-48DF-8125-FC5AA5B851D0}"/>
          </ac:spMkLst>
        </pc:spChg>
        <pc:spChg chg="add mod">
          <ac:chgData name="SC Adm" userId="S::administrator@smartcontinent.com::2db39a3f-6149-4290-89f0-e474f71966dd" providerId="AD" clId="Web-{887C4924-98EA-C92E-BA70-9C466F9E7F51}" dt="2022-02-11T13:59:21.933" v="992" actId="1076"/>
          <ac:spMkLst>
            <pc:docMk/>
            <pc:sldMk cId="2915267452" sldId="446"/>
            <ac:spMk id="70" creationId="{FE0ED578-935C-4054-BC99-28C242DCB930}"/>
          </ac:spMkLst>
        </pc:spChg>
        <pc:spChg chg="add mod">
          <ac:chgData name="SC Adm" userId="S::administrator@smartcontinent.com::2db39a3f-6149-4290-89f0-e474f71966dd" providerId="AD" clId="Web-{887C4924-98EA-C92E-BA70-9C466F9E7F51}" dt="2022-02-11T13:59:21.871" v="990" actId="1076"/>
          <ac:spMkLst>
            <pc:docMk/>
            <pc:sldMk cId="2915267452" sldId="446"/>
            <ac:spMk id="72" creationId="{4FEE95EE-976C-42C6-A9A7-26ECEE6DCBFD}"/>
          </ac:spMkLst>
        </pc:spChg>
        <pc:spChg chg="add mod">
          <ac:chgData name="SC Adm" userId="S::administrator@smartcontinent.com::2db39a3f-6149-4290-89f0-e474f71966dd" providerId="AD" clId="Web-{887C4924-98EA-C92E-BA70-9C466F9E7F51}" dt="2022-02-11T13:59:48.575" v="1001" actId="14100"/>
          <ac:spMkLst>
            <pc:docMk/>
            <pc:sldMk cId="2915267452" sldId="446"/>
            <ac:spMk id="74" creationId="{6BA1FD68-7BC3-4236-A28F-1942BBE36A92}"/>
          </ac:spMkLst>
        </pc:spChg>
        <pc:grpChg chg="add mod">
          <ac:chgData name="SC Adm" userId="S::administrator@smartcontinent.com::2db39a3f-6149-4290-89f0-e474f71966dd" providerId="AD" clId="Web-{887C4924-98EA-C92E-BA70-9C466F9E7F51}" dt="2022-02-11T13:59:05.792" v="980" actId="1076"/>
          <ac:grpSpMkLst>
            <pc:docMk/>
            <pc:sldMk cId="2915267452" sldId="446"/>
            <ac:grpSpMk id="21" creationId="{E22705AF-C88B-4341-A23B-831D8B0F2B62}"/>
          </ac:grpSpMkLst>
        </pc:grpChg>
        <pc:grpChg chg="add del mod">
          <ac:chgData name="SC Adm" userId="S::administrator@smartcontinent.com::2db39a3f-6149-4290-89f0-e474f71966dd" providerId="AD" clId="Web-{887C4924-98EA-C92E-BA70-9C466F9E7F51}" dt="2022-02-11T13:28:09.234" v="112"/>
          <ac:grpSpMkLst>
            <pc:docMk/>
            <pc:sldMk cId="2915267452" sldId="446"/>
            <ac:grpSpMk id="22" creationId="{6059B110-B695-430B-AFF2-3E464F5BBD20}"/>
          </ac:grpSpMkLst>
        </pc:grpChg>
        <pc:grpChg chg="add mod">
          <ac:chgData name="SC Adm" userId="S::administrator@smartcontinent.com::2db39a3f-6149-4290-89f0-e474f71966dd" providerId="AD" clId="Web-{887C4924-98EA-C92E-BA70-9C466F9E7F51}" dt="2022-02-11T13:58:58.730" v="977" actId="1076"/>
          <ac:grpSpMkLst>
            <pc:docMk/>
            <pc:sldMk cId="2915267452" sldId="446"/>
            <ac:grpSpMk id="25" creationId="{337BC4D6-76DB-40CD-AEC7-B336BDE348CD}"/>
          </ac:grpSpMkLst>
        </pc:grpChg>
        <pc:grpChg chg="add del">
          <ac:chgData name="SC Adm" userId="S::administrator@smartcontinent.com::2db39a3f-6149-4290-89f0-e474f71966dd" providerId="AD" clId="Web-{887C4924-98EA-C92E-BA70-9C466F9E7F51}" dt="2022-02-11T13:28:38.781" v="119"/>
          <ac:grpSpMkLst>
            <pc:docMk/>
            <pc:sldMk cId="2915267452" sldId="446"/>
            <ac:grpSpMk id="28" creationId="{7D09B43E-8EA3-441D-8B3A-68E1FB4BCD6B}"/>
          </ac:grpSpMkLst>
        </pc:grpChg>
        <pc:grpChg chg="add mod">
          <ac:chgData name="SC Adm" userId="S::administrator@smartcontinent.com::2db39a3f-6149-4290-89f0-e474f71966dd" providerId="AD" clId="Web-{887C4924-98EA-C92E-BA70-9C466F9E7F51}" dt="2022-02-11T13:58:58.792" v="979" actId="1076"/>
          <ac:grpSpMkLst>
            <pc:docMk/>
            <pc:sldMk cId="2915267452" sldId="446"/>
            <ac:grpSpMk id="35" creationId="{58A120A3-C995-4456-8935-37B9EF9F8C61}"/>
          </ac:grpSpMkLst>
        </pc:grpChg>
        <pc:grpChg chg="add mod">
          <ac:chgData name="SC Adm" userId="S::administrator@smartcontinent.com::2db39a3f-6149-4290-89f0-e474f71966dd" providerId="AD" clId="Web-{887C4924-98EA-C92E-BA70-9C466F9E7F51}" dt="2022-02-11T13:58:58.761" v="978" actId="1076"/>
          <ac:grpSpMkLst>
            <pc:docMk/>
            <pc:sldMk cId="2915267452" sldId="446"/>
            <ac:grpSpMk id="36" creationId="{ADEE0810-9935-4643-89FE-33606C636F54}"/>
          </ac:grpSpMkLst>
        </pc:grpChg>
        <pc:grpChg chg="add del mod">
          <ac:chgData name="SC Adm" userId="S::administrator@smartcontinent.com::2db39a3f-6149-4290-89f0-e474f71966dd" providerId="AD" clId="Web-{887C4924-98EA-C92E-BA70-9C466F9E7F51}" dt="2022-02-11T13:37:16.481" v="409"/>
          <ac:grpSpMkLst>
            <pc:docMk/>
            <pc:sldMk cId="2915267452" sldId="446"/>
            <ac:grpSpMk id="37" creationId="{BEB90D53-0604-47E8-87C3-13F07B7ABE7D}"/>
          </ac:grpSpMkLst>
        </pc:grpChg>
        <pc:grpChg chg="add mod">
          <ac:chgData name="SC Adm" userId="S::administrator@smartcontinent.com::2db39a3f-6149-4290-89f0-e474f71966dd" providerId="AD" clId="Web-{887C4924-98EA-C92E-BA70-9C466F9E7F51}" dt="2022-02-11T13:59:05.902" v="983" actId="1076"/>
          <ac:grpSpMkLst>
            <pc:docMk/>
            <pc:sldMk cId="2915267452" sldId="446"/>
            <ac:grpSpMk id="46" creationId="{4313B0BC-DEAF-4320-BB35-EE66F54326B0}"/>
          </ac:grpSpMkLst>
        </pc:grpChg>
        <pc:grpChg chg="add mod">
          <ac:chgData name="SC Adm" userId="S::administrator@smartcontinent.com::2db39a3f-6149-4290-89f0-e474f71966dd" providerId="AD" clId="Web-{887C4924-98EA-C92E-BA70-9C466F9E7F51}" dt="2022-02-11T13:59:13.574" v="984" actId="1076"/>
          <ac:grpSpMkLst>
            <pc:docMk/>
            <pc:sldMk cId="2915267452" sldId="446"/>
            <ac:grpSpMk id="49" creationId="{84DF5076-1DA5-4282-925D-B07553CA42E4}"/>
          </ac:grpSpMkLst>
        </pc:grpChg>
        <pc:grpChg chg="add del mod">
          <ac:chgData name="SC Adm" userId="S::administrator@smartcontinent.com::2db39a3f-6149-4290-89f0-e474f71966dd" providerId="AD" clId="Web-{887C4924-98EA-C92E-BA70-9C466F9E7F51}" dt="2022-02-11T13:48:18.106" v="518"/>
          <ac:grpSpMkLst>
            <pc:docMk/>
            <pc:sldMk cId="2915267452" sldId="446"/>
            <ac:grpSpMk id="52" creationId="{BD1B2E49-A623-41DF-87A2-A25F62673F29}"/>
          </ac:grpSpMkLst>
        </pc:grpChg>
        <pc:grpChg chg="add mod">
          <ac:chgData name="SC Adm" userId="S::administrator@smartcontinent.com::2db39a3f-6149-4290-89f0-e474f71966dd" providerId="AD" clId="Web-{887C4924-98EA-C92E-BA70-9C466F9E7F51}" dt="2022-02-11T13:59:21.793" v="987" actId="1076"/>
          <ac:grpSpMkLst>
            <pc:docMk/>
            <pc:sldMk cId="2915267452" sldId="446"/>
            <ac:grpSpMk id="55" creationId="{5B2FD58A-EAAC-43F0-8CA6-AA65447DAAD0}"/>
          </ac:grpSpMkLst>
        </pc:grpChg>
        <pc:picChg chg="add del mod">
          <ac:chgData name="SC Adm" userId="S::administrator@smartcontinent.com::2db39a3f-6149-4290-89f0-e474f71966dd" providerId="AD" clId="Web-{887C4924-98EA-C92E-BA70-9C466F9E7F51}" dt="2022-02-11T14:01:29.499" v="1020"/>
          <ac:picMkLst>
            <pc:docMk/>
            <pc:sldMk cId="2915267452" sldId="446"/>
            <ac:picMk id="75" creationId="{B0FC1F56-9F51-477B-8292-0273C7A0A5F8}"/>
          </ac:picMkLst>
        </pc:picChg>
        <pc:cxnChg chg="add mod">
          <ac:chgData name="SC Adm" userId="S::administrator@smartcontinent.com::2db39a3f-6149-4290-89f0-e474f71966dd" providerId="AD" clId="Web-{887C4924-98EA-C92E-BA70-9C466F9E7F51}" dt="2022-02-11T13:28:06.843" v="111" actId="1076"/>
          <ac:cxnSpMkLst>
            <pc:docMk/>
            <pc:sldMk cId="2915267452" sldId="446"/>
            <ac:cxnSpMk id="18" creationId="{887AF3E0-D13E-44D6-894F-E5245CA4927F}"/>
          </ac:cxnSpMkLst>
        </pc:cxnChg>
        <pc:cxnChg chg="add mod">
          <ac:chgData name="SC Adm" userId="S::administrator@smartcontinent.com::2db39a3f-6149-4290-89f0-e474f71966dd" providerId="AD" clId="Web-{887C4924-98EA-C92E-BA70-9C466F9E7F51}" dt="2022-02-11T13:26:51.810" v="94"/>
          <ac:cxnSpMkLst>
            <pc:docMk/>
            <pc:sldMk cId="2915267452" sldId="446"/>
            <ac:cxnSpMk id="20" creationId="{CB55DD8A-999B-47AE-BE89-CFB3CD0A8F3C}"/>
          </ac:cxnSpMkLst>
        </pc:cxnChg>
        <pc:cxnChg chg="add del">
          <ac:chgData name="SC Adm" userId="S::administrator@smartcontinent.com::2db39a3f-6149-4290-89f0-e474f71966dd" providerId="AD" clId="Web-{887C4924-98EA-C92E-BA70-9C466F9E7F51}" dt="2022-02-11T13:27:54.687" v="109"/>
          <ac:cxnSpMkLst>
            <pc:docMk/>
            <pc:sldMk cId="2915267452" sldId="446"/>
            <ac:cxnSpMk id="24" creationId="{9C9AC838-892B-40E9-B05C-F2DF6BBFB79F}"/>
          </ac:cxnSpMkLst>
        </pc:cxnChg>
        <pc:cxnChg chg="mod">
          <ac:chgData name="SC Adm" userId="S::administrator@smartcontinent.com::2db39a3f-6149-4290-89f0-e474f71966dd" providerId="AD" clId="Web-{887C4924-98EA-C92E-BA70-9C466F9E7F51}" dt="2022-02-11T13:28:23.719" v="115"/>
          <ac:cxnSpMkLst>
            <pc:docMk/>
            <pc:sldMk cId="2915267452" sldId="446"/>
            <ac:cxnSpMk id="27" creationId="{78D7AFB1-BA5C-4A1B-9045-68AB667DBE9B}"/>
          </ac:cxnSpMkLst>
        </pc:cxnChg>
        <pc:cxnChg chg="mod">
          <ac:chgData name="SC Adm" userId="S::administrator@smartcontinent.com::2db39a3f-6149-4290-89f0-e474f71966dd" providerId="AD" clId="Web-{887C4924-98EA-C92E-BA70-9C466F9E7F51}" dt="2022-02-11T13:28:36.797" v="118"/>
          <ac:cxnSpMkLst>
            <pc:docMk/>
            <pc:sldMk cId="2915267452" sldId="446"/>
            <ac:cxnSpMk id="30" creationId="{31C91F88-3858-47E0-BDAB-732C7B1F652A}"/>
          </ac:cxnSpMkLst>
        </pc:cxnChg>
        <pc:cxnChg chg="mod">
          <ac:chgData name="SC Adm" userId="S::administrator@smartcontinent.com::2db39a3f-6149-4290-89f0-e474f71966dd" providerId="AD" clId="Web-{887C4924-98EA-C92E-BA70-9C466F9E7F51}" dt="2022-02-11T13:44:23.288" v="507"/>
          <ac:cxnSpMkLst>
            <pc:docMk/>
            <pc:sldMk cId="2915267452" sldId="446"/>
            <ac:cxnSpMk id="51" creationId="{7479AB89-6B83-46C1-96CB-2EA50C2AC17B}"/>
          </ac:cxnSpMkLst>
        </pc:cxnChg>
        <pc:cxnChg chg="mod">
          <ac:chgData name="SC Adm" userId="S::administrator@smartcontinent.com::2db39a3f-6149-4290-89f0-e474f71966dd" providerId="AD" clId="Web-{887C4924-98EA-C92E-BA70-9C466F9E7F51}" dt="2022-02-11T13:54:09.832" v="798"/>
          <ac:cxnSpMkLst>
            <pc:docMk/>
            <pc:sldMk cId="2915267452" sldId="446"/>
            <ac:cxnSpMk id="57" creationId="{2E7D0B68-8DDA-4071-8C8E-E619D7F3F1CF}"/>
          </ac:cxnSpMkLst>
        </pc:cxnChg>
      </pc:sldChg>
      <pc:sldChg chg="delSp modSp add replId">
        <pc:chgData name="SC Adm" userId="S::administrator@smartcontinent.com::2db39a3f-6149-4290-89f0-e474f71966dd" providerId="AD" clId="Web-{887C4924-98EA-C92E-BA70-9C466F9E7F51}" dt="2022-02-11T14:06:24.396" v="1136" actId="1076"/>
        <pc:sldMkLst>
          <pc:docMk/>
          <pc:sldMk cId="2357830411" sldId="452"/>
        </pc:sldMkLst>
        <pc:spChg chg="mod">
          <ac:chgData name="SC Adm" userId="S::administrator@smartcontinent.com::2db39a3f-6149-4290-89f0-e474f71966dd" providerId="AD" clId="Web-{887C4924-98EA-C92E-BA70-9C466F9E7F51}" dt="2022-02-11T14:01:49.343" v="1021" actId="20577"/>
          <ac:spMkLst>
            <pc:docMk/>
            <pc:sldMk cId="2357830411" sldId="452"/>
            <ac:spMk id="8" creationId="{D4BA0322-774D-45E2-995A-B7FBA65EA31F}"/>
          </ac:spMkLst>
        </pc:spChg>
        <pc:spChg chg="mod">
          <ac:chgData name="SC Adm" userId="S::administrator@smartcontinent.com::2db39a3f-6149-4290-89f0-e474f71966dd" providerId="AD" clId="Web-{887C4924-98EA-C92E-BA70-9C466F9E7F51}" dt="2022-02-11T14:02:18.328" v="1052" actId="20577"/>
          <ac:spMkLst>
            <pc:docMk/>
            <pc:sldMk cId="2357830411" sldId="452"/>
            <ac:spMk id="19" creationId="{6761DB2B-9A99-4B99-905C-3962E3DFE434}"/>
          </ac:spMkLst>
        </pc:spChg>
        <pc:spChg chg="mod">
          <ac:chgData name="SC Adm" userId="S::administrator@smartcontinent.com::2db39a3f-6149-4290-89f0-e474f71966dd" providerId="AD" clId="Web-{887C4924-98EA-C92E-BA70-9C466F9E7F51}" dt="2022-02-11T14:02:02.328" v="1044" actId="20577"/>
          <ac:spMkLst>
            <pc:docMk/>
            <pc:sldMk cId="2357830411" sldId="452"/>
            <ac:spMk id="26" creationId="{75909F3D-47DF-49E5-B8AD-69EEF5DB3147}"/>
          </ac:spMkLst>
        </pc:spChg>
        <pc:spChg chg="del topLvl">
          <ac:chgData name="SC Adm" userId="S::administrator@smartcontinent.com::2db39a3f-6149-4290-89f0-e474f71966dd" providerId="AD" clId="Web-{887C4924-98EA-C92E-BA70-9C466F9E7F51}" dt="2022-02-11T14:04:52.816" v="1077"/>
          <ac:spMkLst>
            <pc:docMk/>
            <pc:sldMk cId="2357830411" sldId="452"/>
            <ac:spMk id="33" creationId="{329DBB42-0C2E-44CE-AEBF-0E418ED6416A}"/>
          </ac:spMkLst>
        </pc:spChg>
        <pc:spChg chg="del topLvl">
          <ac:chgData name="SC Adm" userId="S::administrator@smartcontinent.com::2db39a3f-6149-4290-89f0-e474f71966dd" providerId="AD" clId="Web-{887C4924-98EA-C92E-BA70-9C466F9E7F51}" dt="2022-02-11T14:04:51.457" v="1076"/>
          <ac:spMkLst>
            <pc:docMk/>
            <pc:sldMk cId="2357830411" sldId="452"/>
            <ac:spMk id="34" creationId="{076A2663-7BC0-48F1-BD18-AA10EBD22B10}"/>
          </ac:spMkLst>
        </pc:spChg>
        <pc:spChg chg="mod">
          <ac:chgData name="SC Adm" userId="S::administrator@smartcontinent.com::2db39a3f-6149-4290-89f0-e474f71966dd" providerId="AD" clId="Web-{887C4924-98EA-C92E-BA70-9C466F9E7F51}" dt="2022-02-11T14:06:14.412" v="1132" actId="1076"/>
          <ac:spMkLst>
            <pc:docMk/>
            <pc:sldMk cId="2357830411" sldId="452"/>
            <ac:spMk id="38" creationId="{787DCCBB-04AD-45F3-814A-F0BE45E2CFE9}"/>
          </ac:spMkLst>
        </pc:spChg>
        <pc:spChg chg="mod">
          <ac:chgData name="SC Adm" userId="S::administrator@smartcontinent.com::2db39a3f-6149-4290-89f0-e474f71966dd" providerId="AD" clId="Web-{887C4924-98EA-C92E-BA70-9C466F9E7F51}" dt="2022-02-11T14:06:14.459" v="1134" actId="1076"/>
          <ac:spMkLst>
            <pc:docMk/>
            <pc:sldMk cId="2357830411" sldId="452"/>
            <ac:spMk id="47" creationId="{48889598-272E-46E7-9D8C-9F5238F35226}"/>
          </ac:spMkLst>
        </pc:spChg>
        <pc:spChg chg="mod">
          <ac:chgData name="SC Adm" userId="S::administrator@smartcontinent.com::2db39a3f-6149-4290-89f0-e474f71966dd" providerId="AD" clId="Web-{887C4924-98EA-C92E-BA70-9C466F9E7F51}" dt="2022-02-11T14:02:44.829" v="1056"/>
          <ac:spMkLst>
            <pc:docMk/>
            <pc:sldMk cId="2357830411" sldId="452"/>
            <ac:spMk id="50" creationId="{DBF40C3F-D451-490C-B81C-F85C1737C158}"/>
          </ac:spMkLst>
        </pc:spChg>
        <pc:spChg chg="mod">
          <ac:chgData name="SC Adm" userId="S::administrator@smartcontinent.com::2db39a3f-6149-4290-89f0-e474f71966dd" providerId="AD" clId="Web-{887C4924-98EA-C92E-BA70-9C466F9E7F51}" dt="2022-02-11T14:06:06.443" v="1131" actId="20577"/>
          <ac:spMkLst>
            <pc:docMk/>
            <pc:sldMk cId="2357830411" sldId="452"/>
            <ac:spMk id="53" creationId="{A347CF0E-C2E2-44BD-81B2-6E6C77E718A9}"/>
          </ac:spMkLst>
        </pc:spChg>
        <pc:spChg chg="del">
          <ac:chgData name="SC Adm" userId="S::administrator@smartcontinent.com::2db39a3f-6149-4290-89f0-e474f71966dd" providerId="AD" clId="Web-{887C4924-98EA-C92E-BA70-9C466F9E7F51}" dt="2022-02-11T14:03:29.674" v="1058"/>
          <ac:spMkLst>
            <pc:docMk/>
            <pc:sldMk cId="2357830411" sldId="452"/>
            <ac:spMk id="60" creationId="{BCE3AAE7-D6B4-43D1-B29C-1016ADA97EB2}"/>
          </ac:spMkLst>
        </pc:spChg>
        <pc:spChg chg="del">
          <ac:chgData name="SC Adm" userId="S::administrator@smartcontinent.com::2db39a3f-6149-4290-89f0-e474f71966dd" providerId="AD" clId="Web-{887C4924-98EA-C92E-BA70-9C466F9E7F51}" dt="2022-02-11T14:03:32.424" v="1064"/>
          <ac:spMkLst>
            <pc:docMk/>
            <pc:sldMk cId="2357830411" sldId="452"/>
            <ac:spMk id="62" creationId="{AE0E76A9-A998-4725-8A2E-B6F1E5CD3A22}"/>
          </ac:spMkLst>
        </pc:spChg>
        <pc:spChg chg="del">
          <ac:chgData name="SC Adm" userId="S::administrator@smartcontinent.com::2db39a3f-6149-4290-89f0-e474f71966dd" providerId="AD" clId="Web-{887C4924-98EA-C92E-BA70-9C466F9E7F51}" dt="2022-02-11T14:03:34.611" v="1065"/>
          <ac:spMkLst>
            <pc:docMk/>
            <pc:sldMk cId="2357830411" sldId="452"/>
            <ac:spMk id="64" creationId="{4AF32163-B136-45B2-9975-AA50D434CED3}"/>
          </ac:spMkLst>
        </pc:spChg>
        <pc:spChg chg="del">
          <ac:chgData name="SC Adm" userId="S::administrator@smartcontinent.com::2db39a3f-6149-4290-89f0-e474f71966dd" providerId="AD" clId="Web-{887C4924-98EA-C92E-BA70-9C466F9E7F51}" dt="2022-02-11T14:03:32.424" v="1063"/>
          <ac:spMkLst>
            <pc:docMk/>
            <pc:sldMk cId="2357830411" sldId="452"/>
            <ac:spMk id="66" creationId="{FD1C34E6-C313-46D2-BA44-B8D6766162CA}"/>
          </ac:spMkLst>
        </pc:spChg>
        <pc:spChg chg="del">
          <ac:chgData name="SC Adm" userId="S::administrator@smartcontinent.com::2db39a3f-6149-4290-89f0-e474f71966dd" providerId="AD" clId="Web-{887C4924-98EA-C92E-BA70-9C466F9E7F51}" dt="2022-02-11T14:03:32.424" v="1062"/>
          <ac:spMkLst>
            <pc:docMk/>
            <pc:sldMk cId="2357830411" sldId="452"/>
            <ac:spMk id="68" creationId="{DC51C86B-4691-48DF-8125-FC5AA5B851D0}"/>
          </ac:spMkLst>
        </pc:spChg>
        <pc:spChg chg="del">
          <ac:chgData name="SC Adm" userId="S::administrator@smartcontinent.com::2db39a3f-6149-4290-89f0-e474f71966dd" providerId="AD" clId="Web-{887C4924-98EA-C92E-BA70-9C466F9E7F51}" dt="2022-02-11T14:03:32.424" v="1061"/>
          <ac:spMkLst>
            <pc:docMk/>
            <pc:sldMk cId="2357830411" sldId="452"/>
            <ac:spMk id="70" creationId="{FE0ED578-935C-4054-BC99-28C242DCB930}"/>
          </ac:spMkLst>
        </pc:spChg>
        <pc:spChg chg="del">
          <ac:chgData name="SC Adm" userId="S::administrator@smartcontinent.com::2db39a3f-6149-4290-89f0-e474f71966dd" providerId="AD" clId="Web-{887C4924-98EA-C92E-BA70-9C466F9E7F51}" dt="2022-02-11T14:03:32.424" v="1060"/>
          <ac:spMkLst>
            <pc:docMk/>
            <pc:sldMk cId="2357830411" sldId="452"/>
            <ac:spMk id="72" creationId="{4FEE95EE-976C-42C6-A9A7-26ECEE6DCBFD}"/>
          </ac:spMkLst>
        </pc:spChg>
        <pc:spChg chg="del">
          <ac:chgData name="SC Adm" userId="S::administrator@smartcontinent.com::2db39a3f-6149-4290-89f0-e474f71966dd" providerId="AD" clId="Web-{887C4924-98EA-C92E-BA70-9C466F9E7F51}" dt="2022-02-11T14:03:32.424" v="1059"/>
          <ac:spMkLst>
            <pc:docMk/>
            <pc:sldMk cId="2357830411" sldId="452"/>
            <ac:spMk id="74" creationId="{6BA1FD68-7BC3-4236-A28F-1942BBE36A92}"/>
          </ac:spMkLst>
        </pc:spChg>
        <pc:grpChg chg="mod">
          <ac:chgData name="SC Adm" userId="S::administrator@smartcontinent.com::2db39a3f-6149-4290-89f0-e474f71966dd" providerId="AD" clId="Web-{887C4924-98EA-C92E-BA70-9C466F9E7F51}" dt="2022-02-11T14:03:45.424" v="1066" actId="1076"/>
          <ac:grpSpMkLst>
            <pc:docMk/>
            <pc:sldMk cId="2357830411" sldId="452"/>
            <ac:grpSpMk id="21" creationId="{E22705AF-C88B-4341-A23B-831D8B0F2B62}"/>
          </ac:grpSpMkLst>
        </pc:grpChg>
        <pc:grpChg chg="mod">
          <ac:chgData name="SC Adm" userId="S::administrator@smartcontinent.com::2db39a3f-6149-4290-89f0-e474f71966dd" providerId="AD" clId="Web-{887C4924-98EA-C92E-BA70-9C466F9E7F51}" dt="2022-02-11T14:03:45.455" v="1067" actId="1076"/>
          <ac:grpSpMkLst>
            <pc:docMk/>
            <pc:sldMk cId="2357830411" sldId="452"/>
            <ac:grpSpMk id="25" creationId="{337BC4D6-76DB-40CD-AEC7-B336BDE348CD}"/>
          </ac:grpSpMkLst>
        </pc:grpChg>
        <pc:grpChg chg="del mod">
          <ac:chgData name="SC Adm" userId="S::administrator@smartcontinent.com::2db39a3f-6149-4290-89f0-e474f71966dd" providerId="AD" clId="Web-{887C4924-98EA-C92E-BA70-9C466F9E7F51}" dt="2022-02-11T14:04:51.457" v="1076"/>
          <ac:grpSpMkLst>
            <pc:docMk/>
            <pc:sldMk cId="2357830411" sldId="452"/>
            <ac:grpSpMk id="35" creationId="{58A120A3-C995-4456-8935-37B9EF9F8C61}"/>
          </ac:grpSpMkLst>
        </pc:grpChg>
        <pc:grpChg chg="del mod">
          <ac:chgData name="SC Adm" userId="S::administrator@smartcontinent.com::2db39a3f-6149-4290-89f0-e474f71966dd" providerId="AD" clId="Web-{887C4924-98EA-C92E-BA70-9C466F9E7F51}" dt="2022-02-11T14:04:49.222" v="1075"/>
          <ac:grpSpMkLst>
            <pc:docMk/>
            <pc:sldMk cId="2357830411" sldId="452"/>
            <ac:grpSpMk id="36" creationId="{ADEE0810-9935-4643-89FE-33606C636F54}"/>
          </ac:grpSpMkLst>
        </pc:grpChg>
        <pc:grpChg chg="mod">
          <ac:chgData name="SC Adm" userId="S::administrator@smartcontinent.com::2db39a3f-6149-4290-89f0-e474f71966dd" providerId="AD" clId="Web-{887C4924-98EA-C92E-BA70-9C466F9E7F51}" dt="2022-02-11T14:06:14.443" v="1133" actId="1076"/>
          <ac:grpSpMkLst>
            <pc:docMk/>
            <pc:sldMk cId="2357830411" sldId="452"/>
            <ac:grpSpMk id="46" creationId="{4313B0BC-DEAF-4320-BB35-EE66F54326B0}"/>
          </ac:grpSpMkLst>
        </pc:grpChg>
        <pc:grpChg chg="mod">
          <ac:chgData name="SC Adm" userId="S::administrator@smartcontinent.com::2db39a3f-6149-4290-89f0-e474f71966dd" providerId="AD" clId="Web-{887C4924-98EA-C92E-BA70-9C466F9E7F51}" dt="2022-02-11T14:06:14.474" v="1135" actId="1076"/>
          <ac:grpSpMkLst>
            <pc:docMk/>
            <pc:sldMk cId="2357830411" sldId="452"/>
            <ac:grpSpMk id="49" creationId="{84DF5076-1DA5-4282-925D-B07553CA42E4}"/>
          </ac:grpSpMkLst>
        </pc:grpChg>
        <pc:grpChg chg="del">
          <ac:chgData name="SC Adm" userId="S::administrator@smartcontinent.com::2db39a3f-6149-4290-89f0-e474f71966dd" providerId="AD" clId="Web-{887C4924-98EA-C92E-BA70-9C466F9E7F51}" dt="2022-02-11T14:03:28.658" v="1057"/>
          <ac:grpSpMkLst>
            <pc:docMk/>
            <pc:sldMk cId="2357830411" sldId="452"/>
            <ac:grpSpMk id="55" creationId="{5B2FD58A-EAAC-43F0-8CA6-AA65447DAAD0}"/>
          </ac:grpSpMkLst>
        </pc:grpChg>
        <pc:cxnChg chg="mod">
          <ac:chgData name="SC Adm" userId="S::administrator@smartcontinent.com::2db39a3f-6149-4290-89f0-e474f71966dd" providerId="AD" clId="Web-{887C4924-98EA-C92E-BA70-9C466F9E7F51}" dt="2022-02-11T14:06:24.396" v="1136" actId="1076"/>
          <ac:cxnSpMkLst>
            <pc:docMk/>
            <pc:sldMk cId="2357830411" sldId="452"/>
            <ac:cxnSpMk id="20" creationId="{CB55DD8A-999B-47AE-BE89-CFB3CD0A8F3C}"/>
          </ac:cxnSpMkLst>
        </pc:cxnChg>
      </pc:sldChg>
    </pc:docChg>
  </pc:docChgLst>
  <pc:docChgLst>
    <pc:chgData name="Justinas Martinkus" userId="1f6185ba-b70a-4099-ae1f-355fb9f2d474" providerId="ADAL" clId="{E9B58A52-177A-44FC-BA4F-B97824572848}"/>
    <pc:docChg chg="custSel modSld">
      <pc:chgData name="Justinas Martinkus" userId="1f6185ba-b70a-4099-ae1f-355fb9f2d474" providerId="ADAL" clId="{E9B58A52-177A-44FC-BA4F-B97824572848}" dt="2022-01-06T16:29:18.228" v="741"/>
      <pc:docMkLst>
        <pc:docMk/>
      </pc:docMkLst>
      <pc:sldChg chg="delSp modSp mod addCm">
        <pc:chgData name="Justinas Martinkus" userId="1f6185ba-b70a-4099-ae1f-355fb9f2d474" providerId="ADAL" clId="{E9B58A52-177A-44FC-BA4F-B97824572848}" dt="2022-01-06T16:28:51.384" v="740"/>
        <pc:sldMkLst>
          <pc:docMk/>
          <pc:sldMk cId="2969992210" sldId="365"/>
        </pc:sldMkLst>
        <pc:spChg chg="del">
          <ac:chgData name="Justinas Martinkus" userId="1f6185ba-b70a-4099-ae1f-355fb9f2d474" providerId="ADAL" clId="{E9B58A52-177A-44FC-BA4F-B97824572848}" dt="2022-01-06T14:34:02.190" v="35" actId="478"/>
          <ac:spMkLst>
            <pc:docMk/>
            <pc:sldMk cId="2969992210" sldId="365"/>
            <ac:spMk id="2" creationId="{D3143390-1B0A-44B8-B96C-676B62C054D1}"/>
          </ac:spMkLst>
        </pc:spChg>
        <pc:spChg chg="mod">
          <ac:chgData name="Justinas Martinkus" userId="1f6185ba-b70a-4099-ae1f-355fb9f2d474" providerId="ADAL" clId="{E9B58A52-177A-44FC-BA4F-B97824572848}" dt="2022-01-06T14:30:05.809" v="2" actId="20577"/>
          <ac:spMkLst>
            <pc:docMk/>
            <pc:sldMk cId="2969992210" sldId="365"/>
            <ac:spMk id="43" creationId="{8E57DEA4-E290-44A1-9C3A-9CA760C11626}"/>
          </ac:spMkLst>
        </pc:spChg>
        <pc:spChg chg="mod">
          <ac:chgData name="Justinas Martinkus" userId="1f6185ba-b70a-4099-ae1f-355fb9f2d474" providerId="ADAL" clId="{E9B58A52-177A-44FC-BA4F-B97824572848}" dt="2022-01-06T14:30:24.093" v="6" actId="14100"/>
          <ac:spMkLst>
            <pc:docMk/>
            <pc:sldMk cId="2969992210" sldId="365"/>
            <ac:spMk id="47" creationId="{32D394B3-A6D3-4E86-8E78-8CFD13DB1509}"/>
          </ac:spMkLst>
        </pc:spChg>
        <pc:spChg chg="mod">
          <ac:chgData name="Justinas Martinkus" userId="1f6185ba-b70a-4099-ae1f-355fb9f2d474" providerId="ADAL" clId="{E9B58A52-177A-44FC-BA4F-B97824572848}" dt="2022-01-06T14:33:26.622" v="34" actId="1036"/>
          <ac:spMkLst>
            <pc:docMk/>
            <pc:sldMk cId="2969992210" sldId="365"/>
            <ac:spMk id="55" creationId="{01658474-2E22-4865-8235-D5079346D8D7}"/>
          </ac:spMkLst>
        </pc:spChg>
        <pc:spChg chg="mod">
          <ac:chgData name="Justinas Martinkus" userId="1f6185ba-b70a-4099-ae1f-355fb9f2d474" providerId="ADAL" clId="{E9B58A52-177A-44FC-BA4F-B97824572848}" dt="2022-01-06T14:33:26.622" v="34" actId="1036"/>
          <ac:spMkLst>
            <pc:docMk/>
            <pc:sldMk cId="2969992210" sldId="365"/>
            <ac:spMk id="56" creationId="{1D951BB4-4ED4-4A7D-A31D-A2CC4FE35E37}"/>
          </ac:spMkLst>
        </pc:spChg>
      </pc:sldChg>
      <pc:sldChg chg="addSp delSp modSp mod addCm">
        <pc:chgData name="Justinas Martinkus" userId="1f6185ba-b70a-4099-ae1f-355fb9f2d474" providerId="ADAL" clId="{E9B58A52-177A-44FC-BA4F-B97824572848}" dt="2022-01-06T16:29:18.228" v="741"/>
        <pc:sldMkLst>
          <pc:docMk/>
          <pc:sldMk cId="485910152" sldId="367"/>
        </pc:sldMkLst>
        <pc:spChg chg="add del mod">
          <ac:chgData name="Justinas Martinkus" userId="1f6185ba-b70a-4099-ae1f-355fb9f2d474" providerId="ADAL" clId="{E9B58A52-177A-44FC-BA4F-B97824572848}" dt="2022-01-06T15:40:04.195" v="279" actId="478"/>
          <ac:spMkLst>
            <pc:docMk/>
            <pc:sldMk cId="485910152" sldId="367"/>
            <ac:spMk id="4" creationId="{91C95EC0-6B29-4009-940F-390D16985E12}"/>
          </ac:spMkLst>
        </pc:spChg>
        <pc:spChg chg="del">
          <ac:chgData name="Justinas Martinkus" userId="1f6185ba-b70a-4099-ae1f-355fb9f2d474" providerId="ADAL" clId="{E9B58A52-177A-44FC-BA4F-B97824572848}" dt="2022-01-06T15:40:01.801" v="278" actId="478"/>
          <ac:spMkLst>
            <pc:docMk/>
            <pc:sldMk cId="485910152" sldId="367"/>
            <ac:spMk id="11" creationId="{BBF49F91-6982-4910-BCEB-BF6666F394A8}"/>
          </ac:spMkLst>
        </pc:spChg>
        <pc:spChg chg="del mod">
          <ac:chgData name="Justinas Martinkus" userId="1f6185ba-b70a-4099-ae1f-355fb9f2d474" providerId="ADAL" clId="{E9B58A52-177A-44FC-BA4F-B97824572848}" dt="2022-01-06T16:10:02.545" v="292" actId="478"/>
          <ac:spMkLst>
            <pc:docMk/>
            <pc:sldMk cId="485910152" sldId="367"/>
            <ac:spMk id="12" creationId="{31809C83-98B8-4A51-BA0A-764A605F08AA}"/>
          </ac:spMkLst>
        </pc:spChg>
        <pc:spChg chg="del mod">
          <ac:chgData name="Justinas Martinkus" userId="1f6185ba-b70a-4099-ae1f-355fb9f2d474" providerId="ADAL" clId="{E9B58A52-177A-44FC-BA4F-B97824572848}" dt="2022-01-06T16:10:02.545" v="292" actId="478"/>
          <ac:spMkLst>
            <pc:docMk/>
            <pc:sldMk cId="485910152" sldId="367"/>
            <ac:spMk id="13" creationId="{655AE482-8417-45DE-9CF2-DBC83BDBB149}"/>
          </ac:spMkLst>
        </pc:spChg>
        <pc:spChg chg="mod">
          <ac:chgData name="Justinas Martinkus" userId="1f6185ba-b70a-4099-ae1f-355fb9f2d474" providerId="ADAL" clId="{E9B58A52-177A-44FC-BA4F-B97824572848}" dt="2022-01-06T16:15:23.529" v="312" actId="1036"/>
          <ac:spMkLst>
            <pc:docMk/>
            <pc:sldMk cId="485910152" sldId="367"/>
            <ac:spMk id="14" creationId="{DFC8EAFC-6AC3-4D24-BF79-F6C014B2138F}"/>
          </ac:spMkLst>
        </pc:spChg>
        <pc:spChg chg="mod">
          <ac:chgData name="Justinas Martinkus" userId="1f6185ba-b70a-4099-ae1f-355fb9f2d474" providerId="ADAL" clId="{E9B58A52-177A-44FC-BA4F-B97824572848}" dt="2022-01-06T16:15:23.529" v="312" actId="1036"/>
          <ac:spMkLst>
            <pc:docMk/>
            <pc:sldMk cId="485910152" sldId="367"/>
            <ac:spMk id="15" creationId="{35304EFD-0E53-4ECC-ACC4-C38B7A5CEFCA}"/>
          </ac:spMkLst>
        </pc:spChg>
        <pc:spChg chg="mod">
          <ac:chgData name="Justinas Martinkus" userId="1f6185ba-b70a-4099-ae1f-355fb9f2d474" providerId="ADAL" clId="{E9B58A52-177A-44FC-BA4F-B97824572848}" dt="2022-01-06T16:15:23.529" v="312" actId="1036"/>
          <ac:spMkLst>
            <pc:docMk/>
            <pc:sldMk cId="485910152" sldId="367"/>
            <ac:spMk id="16" creationId="{0A17E152-0730-49B3-8A4D-DC66617A3507}"/>
          </ac:spMkLst>
        </pc:spChg>
        <pc:spChg chg="mod">
          <ac:chgData name="Justinas Martinkus" userId="1f6185ba-b70a-4099-ae1f-355fb9f2d474" providerId="ADAL" clId="{E9B58A52-177A-44FC-BA4F-B97824572848}" dt="2022-01-06T16:15:23.529" v="312" actId="1036"/>
          <ac:spMkLst>
            <pc:docMk/>
            <pc:sldMk cId="485910152" sldId="367"/>
            <ac:spMk id="17" creationId="{C39EB42C-2B5E-4751-BAF8-DB02B2A8668C}"/>
          </ac:spMkLst>
        </pc:spChg>
        <pc:spChg chg="mod">
          <ac:chgData name="Justinas Martinkus" userId="1f6185ba-b70a-4099-ae1f-355fb9f2d474" providerId="ADAL" clId="{E9B58A52-177A-44FC-BA4F-B97824572848}" dt="2022-01-06T16:20:48.842" v="581" actId="20577"/>
          <ac:spMkLst>
            <pc:docMk/>
            <pc:sldMk cId="485910152" sldId="367"/>
            <ac:spMk id="18" creationId="{4F0B9587-7D1E-4A90-8073-6D81EAE81906}"/>
          </ac:spMkLst>
        </pc:spChg>
        <pc:spChg chg="mod">
          <ac:chgData name="Justinas Martinkus" userId="1f6185ba-b70a-4099-ae1f-355fb9f2d474" providerId="ADAL" clId="{E9B58A52-177A-44FC-BA4F-B97824572848}" dt="2022-01-06T16:15:28.215" v="316" actId="1035"/>
          <ac:spMkLst>
            <pc:docMk/>
            <pc:sldMk cId="485910152" sldId="367"/>
            <ac:spMk id="19" creationId="{6E80D752-FFDE-47F6-B91B-D7CE1D4F59B8}"/>
          </ac:spMkLst>
        </pc:spChg>
        <pc:spChg chg="mod">
          <ac:chgData name="Justinas Martinkus" userId="1f6185ba-b70a-4099-ae1f-355fb9f2d474" providerId="ADAL" clId="{E9B58A52-177A-44FC-BA4F-B97824572848}" dt="2022-01-06T16:28:06.228" v="739" actId="20577"/>
          <ac:spMkLst>
            <pc:docMk/>
            <pc:sldMk cId="485910152" sldId="367"/>
            <ac:spMk id="20" creationId="{87A6E830-FF54-4AED-BDCF-8C24EB8B983D}"/>
          </ac:spMkLst>
        </pc:spChg>
        <pc:spChg chg="mod">
          <ac:chgData name="Justinas Martinkus" userId="1f6185ba-b70a-4099-ae1f-355fb9f2d474" providerId="ADAL" clId="{E9B58A52-177A-44FC-BA4F-B97824572848}" dt="2022-01-06T16:15:23.529" v="312" actId="1036"/>
          <ac:spMkLst>
            <pc:docMk/>
            <pc:sldMk cId="485910152" sldId="367"/>
            <ac:spMk id="25" creationId="{A7C46047-781A-45F5-9528-088ECAA4CABC}"/>
          </ac:spMkLst>
        </pc:spChg>
        <pc:spChg chg="del mod">
          <ac:chgData name="Justinas Martinkus" userId="1f6185ba-b70a-4099-ae1f-355fb9f2d474" providerId="ADAL" clId="{E9B58A52-177A-44FC-BA4F-B97824572848}" dt="2022-01-06T16:10:02.545" v="292" actId="478"/>
          <ac:spMkLst>
            <pc:docMk/>
            <pc:sldMk cId="485910152" sldId="367"/>
            <ac:spMk id="26" creationId="{6B862CA4-8A2F-4AFB-8A9E-2DE4FD919CEC}"/>
          </ac:spMkLst>
        </pc:spChg>
        <pc:spChg chg="mod">
          <ac:chgData name="Justinas Martinkus" userId="1f6185ba-b70a-4099-ae1f-355fb9f2d474" providerId="ADAL" clId="{E9B58A52-177A-44FC-BA4F-B97824572848}" dt="2022-01-06T16:15:28.215" v="316" actId="1035"/>
          <ac:spMkLst>
            <pc:docMk/>
            <pc:sldMk cId="485910152" sldId="367"/>
            <ac:spMk id="27" creationId="{3CA6DA53-023E-4B51-8FC8-53F1AB0E5BB9}"/>
          </ac:spMkLst>
        </pc:spChg>
        <pc:spChg chg="mod">
          <ac:chgData name="Justinas Martinkus" userId="1f6185ba-b70a-4099-ae1f-355fb9f2d474" providerId="ADAL" clId="{E9B58A52-177A-44FC-BA4F-B97824572848}" dt="2022-01-06T16:15:28.215" v="316" actId="1035"/>
          <ac:spMkLst>
            <pc:docMk/>
            <pc:sldMk cId="485910152" sldId="367"/>
            <ac:spMk id="30" creationId="{21A7676A-A2EA-475E-8DEC-8D55564E3ABC}"/>
          </ac:spMkLst>
        </pc:spChg>
        <pc:spChg chg="mod">
          <ac:chgData name="Justinas Martinkus" userId="1f6185ba-b70a-4099-ae1f-355fb9f2d474" providerId="ADAL" clId="{E9B58A52-177A-44FC-BA4F-B97824572848}" dt="2022-01-06T16:26:55.347" v="716" actId="20577"/>
          <ac:spMkLst>
            <pc:docMk/>
            <pc:sldMk cId="485910152" sldId="367"/>
            <ac:spMk id="31" creationId="{F152A163-53F9-4C33-A82A-EDC7CCA960A3}"/>
          </ac:spMkLst>
        </pc:spChg>
        <pc:spChg chg="mod">
          <ac:chgData name="Justinas Martinkus" userId="1f6185ba-b70a-4099-ae1f-355fb9f2d474" providerId="ADAL" clId="{E9B58A52-177A-44FC-BA4F-B97824572848}" dt="2022-01-06T16:21:27.081" v="614" actId="14100"/>
          <ac:spMkLst>
            <pc:docMk/>
            <pc:sldMk cId="485910152" sldId="367"/>
            <ac:spMk id="32" creationId="{00C40385-F094-41C5-9479-CBA336394E3A}"/>
          </ac:spMkLst>
        </pc:spChg>
      </pc:sldChg>
    </pc:docChg>
  </pc:docChgLst>
  <pc:docChgLst>
    <pc:chgData name="SC Adm" userId="S::administrator@smartcontinent.com::2db39a3f-6149-4290-89f0-e474f71966dd" providerId="AD" clId="Web-{1E49D364-41B0-830B-E8D3-3F8A44DC1CC2}"/>
    <pc:docChg chg="modSld">
      <pc:chgData name="SC Adm" userId="S::administrator@smartcontinent.com::2db39a3f-6149-4290-89f0-e474f71966dd" providerId="AD" clId="Web-{1E49D364-41B0-830B-E8D3-3F8A44DC1CC2}" dt="2022-02-10T11:14:19.458" v="27"/>
      <pc:docMkLst>
        <pc:docMk/>
      </pc:docMkLst>
      <pc:sldChg chg="modSp">
        <pc:chgData name="SC Adm" userId="S::administrator@smartcontinent.com::2db39a3f-6149-4290-89f0-e474f71966dd" providerId="AD" clId="Web-{1E49D364-41B0-830B-E8D3-3F8A44DC1CC2}" dt="2022-02-10T11:09:19.644" v="0" actId="20577"/>
        <pc:sldMkLst>
          <pc:docMk/>
          <pc:sldMk cId="2381843795" sldId="362"/>
        </pc:sldMkLst>
        <pc:spChg chg="mod">
          <ac:chgData name="SC Adm" userId="S::administrator@smartcontinent.com::2db39a3f-6149-4290-89f0-e474f71966dd" providerId="AD" clId="Web-{1E49D364-41B0-830B-E8D3-3F8A44DC1CC2}" dt="2022-02-10T11:09:19.644" v="0" actId="20577"/>
          <ac:spMkLst>
            <pc:docMk/>
            <pc:sldMk cId="2381843795" sldId="362"/>
            <ac:spMk id="4" creationId="{00000000-0000-0000-0000-000000000000}"/>
          </ac:spMkLst>
        </pc:spChg>
      </pc:sldChg>
      <pc:sldChg chg="modSp">
        <pc:chgData name="SC Adm" userId="S::administrator@smartcontinent.com::2db39a3f-6149-4290-89f0-e474f71966dd" providerId="AD" clId="Web-{1E49D364-41B0-830B-E8D3-3F8A44DC1CC2}" dt="2022-02-10T11:10:02.787" v="1" actId="20577"/>
        <pc:sldMkLst>
          <pc:docMk/>
          <pc:sldMk cId="2969992210" sldId="365"/>
        </pc:sldMkLst>
        <pc:spChg chg="mod">
          <ac:chgData name="SC Adm" userId="S::administrator@smartcontinent.com::2db39a3f-6149-4290-89f0-e474f71966dd" providerId="AD" clId="Web-{1E49D364-41B0-830B-E8D3-3F8A44DC1CC2}" dt="2022-02-10T11:10:02.787" v="1" actId="20577"/>
          <ac:spMkLst>
            <pc:docMk/>
            <pc:sldMk cId="2969992210" sldId="365"/>
            <ac:spMk id="60" creationId="{2AC97D6B-0690-4A41-B111-6B17C6DA9F9C}"/>
          </ac:spMkLst>
        </pc:spChg>
      </pc:sldChg>
      <pc:sldChg chg="modSp">
        <pc:chgData name="SC Adm" userId="S::administrator@smartcontinent.com::2db39a3f-6149-4290-89f0-e474f71966dd" providerId="AD" clId="Web-{1E49D364-41B0-830B-E8D3-3F8A44DC1CC2}" dt="2022-02-10T11:14:19.458" v="27"/>
        <pc:sldMkLst>
          <pc:docMk/>
          <pc:sldMk cId="2721759979" sldId="412"/>
        </pc:sldMkLst>
        <pc:spChg chg="mod">
          <ac:chgData name="SC Adm" userId="S::administrator@smartcontinent.com::2db39a3f-6149-4290-89f0-e474f71966dd" providerId="AD" clId="Web-{1E49D364-41B0-830B-E8D3-3F8A44DC1CC2}" dt="2022-02-10T11:13:39.972" v="6"/>
          <ac:spMkLst>
            <pc:docMk/>
            <pc:sldMk cId="2721759979" sldId="412"/>
            <ac:spMk id="7" creationId="{139D78CF-5B4D-476A-8D8A-4EE4C4793D7A}"/>
          </ac:spMkLst>
        </pc:spChg>
        <pc:spChg chg="mod">
          <ac:chgData name="SC Adm" userId="S::administrator@smartcontinent.com::2db39a3f-6149-4290-89f0-e474f71966dd" providerId="AD" clId="Web-{1E49D364-41B0-830B-E8D3-3F8A44DC1CC2}" dt="2022-02-10T11:13:52.504" v="22"/>
          <ac:spMkLst>
            <pc:docMk/>
            <pc:sldMk cId="2721759979" sldId="412"/>
            <ac:spMk id="8" creationId="{BE4AC605-A72E-4955-9D01-E9C6C5D5DA3E}"/>
          </ac:spMkLst>
        </pc:spChg>
        <pc:spChg chg="mod">
          <ac:chgData name="SC Adm" userId="S::administrator@smartcontinent.com::2db39a3f-6149-4290-89f0-e474f71966dd" providerId="AD" clId="Web-{1E49D364-41B0-830B-E8D3-3F8A44DC1CC2}" dt="2022-02-10T11:14:06.051" v="25"/>
          <ac:spMkLst>
            <pc:docMk/>
            <pc:sldMk cId="2721759979" sldId="412"/>
            <ac:spMk id="11" creationId="{5AC09933-38BB-4984-B3D3-259DE30E8D49}"/>
          </ac:spMkLst>
        </pc:spChg>
        <pc:spChg chg="mod">
          <ac:chgData name="SC Adm" userId="S::administrator@smartcontinent.com::2db39a3f-6149-4290-89f0-e474f71966dd" providerId="AD" clId="Web-{1E49D364-41B0-830B-E8D3-3F8A44DC1CC2}" dt="2022-02-10T11:13:58.332" v="24"/>
          <ac:spMkLst>
            <pc:docMk/>
            <pc:sldMk cId="2721759979" sldId="412"/>
            <ac:spMk id="13" creationId="{5A591081-5BD0-495C-92F9-4F46B441223B}"/>
          </ac:spMkLst>
        </pc:spChg>
        <pc:spChg chg="mod">
          <ac:chgData name="SC Adm" userId="S::administrator@smartcontinent.com::2db39a3f-6149-4290-89f0-e474f71966dd" providerId="AD" clId="Web-{1E49D364-41B0-830B-E8D3-3F8A44DC1CC2}" dt="2022-02-10T11:14:19.458" v="27"/>
          <ac:spMkLst>
            <pc:docMk/>
            <pc:sldMk cId="2721759979" sldId="412"/>
            <ac:spMk id="14" creationId="{11735E13-8BA2-4B27-8057-5B61E1C84C97}"/>
          </ac:spMkLst>
        </pc:spChg>
        <pc:spChg chg="mod">
          <ac:chgData name="SC Adm" userId="S::administrator@smartcontinent.com::2db39a3f-6149-4290-89f0-e474f71966dd" providerId="AD" clId="Web-{1E49D364-41B0-830B-E8D3-3F8A44DC1CC2}" dt="2022-02-10T11:13:46.550" v="18"/>
          <ac:spMkLst>
            <pc:docMk/>
            <pc:sldMk cId="2721759979" sldId="412"/>
            <ac:spMk id="32" creationId="{786A3627-D2CF-4920-8CF1-4DD578091430}"/>
          </ac:spMkLst>
        </pc:spChg>
        <pc:spChg chg="mod">
          <ac:chgData name="SC Adm" userId="S::administrator@smartcontinent.com::2db39a3f-6149-4290-89f0-e474f71966dd" providerId="AD" clId="Web-{1E49D364-41B0-830B-E8D3-3F8A44DC1CC2}" dt="2022-02-10T11:13:46.628" v="19"/>
          <ac:spMkLst>
            <pc:docMk/>
            <pc:sldMk cId="2721759979" sldId="412"/>
            <ac:spMk id="33" creationId="{19613554-A2FD-4A3A-857C-BF2A60B5A915}"/>
          </ac:spMkLst>
        </pc:spChg>
        <pc:spChg chg="mod">
          <ac:chgData name="SC Adm" userId="S::administrator@smartcontinent.com::2db39a3f-6149-4290-89f0-e474f71966dd" providerId="AD" clId="Web-{1E49D364-41B0-830B-E8D3-3F8A44DC1CC2}" dt="2022-02-10T11:13:46.707" v="20"/>
          <ac:spMkLst>
            <pc:docMk/>
            <pc:sldMk cId="2721759979" sldId="412"/>
            <ac:spMk id="34" creationId="{C29A647E-28B2-4177-8460-D03DC7E2B8C6}"/>
          </ac:spMkLst>
        </pc:spChg>
        <pc:spChg chg="mod">
          <ac:chgData name="SC Adm" userId="S::administrator@smartcontinent.com::2db39a3f-6149-4290-89f0-e474f71966dd" providerId="AD" clId="Web-{1E49D364-41B0-830B-E8D3-3F8A44DC1CC2}" dt="2022-02-10T11:13:46.785" v="21"/>
          <ac:spMkLst>
            <pc:docMk/>
            <pc:sldMk cId="2721759979" sldId="412"/>
            <ac:spMk id="35" creationId="{FE2824BF-DE8A-4CD4-8E3B-8BD04157FB33}"/>
          </ac:spMkLst>
        </pc:spChg>
        <pc:spChg chg="mod">
          <ac:chgData name="SC Adm" userId="S::administrator@smartcontinent.com::2db39a3f-6149-4290-89f0-e474f71966dd" providerId="AD" clId="Web-{1E49D364-41B0-830B-E8D3-3F8A44DC1CC2}" dt="2022-02-10T11:13:40.019" v="7"/>
          <ac:spMkLst>
            <pc:docMk/>
            <pc:sldMk cId="2721759979" sldId="412"/>
            <ac:spMk id="36" creationId="{C8D4EDE0-24DF-4A08-A1F8-80092A5299DC}"/>
          </ac:spMkLst>
        </pc:spChg>
        <pc:spChg chg="mod">
          <ac:chgData name="SC Adm" userId="S::administrator@smartcontinent.com::2db39a3f-6149-4290-89f0-e474f71966dd" providerId="AD" clId="Web-{1E49D364-41B0-830B-E8D3-3F8A44DC1CC2}" dt="2022-02-10T11:13:40.065" v="8"/>
          <ac:spMkLst>
            <pc:docMk/>
            <pc:sldMk cId="2721759979" sldId="412"/>
            <ac:spMk id="37" creationId="{91B8FE04-D52F-4D25-91CB-9D32BDE45BAB}"/>
          </ac:spMkLst>
        </pc:spChg>
        <pc:spChg chg="mod">
          <ac:chgData name="SC Adm" userId="S::administrator@smartcontinent.com::2db39a3f-6149-4290-89f0-e474f71966dd" providerId="AD" clId="Web-{1E49D364-41B0-830B-E8D3-3F8A44DC1CC2}" dt="2022-02-10T11:13:40.112" v="9"/>
          <ac:spMkLst>
            <pc:docMk/>
            <pc:sldMk cId="2721759979" sldId="412"/>
            <ac:spMk id="39" creationId="{FE0E0466-092B-4EB2-9159-3530496230B9}"/>
          </ac:spMkLst>
        </pc:spChg>
      </pc:sldChg>
    </pc:docChg>
  </pc:docChgLst>
  <pc:docChgLst>
    <pc:chgData name="Gintare Vitkauskaite" userId="fcee79df-4ed1-45d4-8c05-9b9f3354d122" providerId="ADAL" clId="{F9DF37DA-6AE4-45A7-9D84-E819F2C2A6E2}"/>
    <pc:docChg chg="custSel modSld sldOrd">
      <pc:chgData name="Gintare Vitkauskaite" userId="fcee79df-4ed1-45d4-8c05-9b9f3354d122" providerId="ADAL" clId="{F9DF37DA-6AE4-45A7-9D84-E819F2C2A6E2}" dt="2022-02-17T06:30:14.096" v="653" actId="1037"/>
      <pc:docMkLst>
        <pc:docMk/>
      </pc:docMkLst>
      <pc:sldChg chg="addSp delSp modSp mod">
        <pc:chgData name="Gintare Vitkauskaite" userId="fcee79df-4ed1-45d4-8c05-9b9f3354d122" providerId="ADAL" clId="{F9DF37DA-6AE4-45A7-9D84-E819F2C2A6E2}" dt="2022-02-17T06:30:14.096" v="653" actId="1037"/>
        <pc:sldMkLst>
          <pc:docMk/>
          <pc:sldMk cId="2381843795" sldId="362"/>
        </pc:sldMkLst>
        <pc:spChg chg="add del mod">
          <ac:chgData name="Gintare Vitkauskaite" userId="fcee79df-4ed1-45d4-8c05-9b9f3354d122" providerId="ADAL" clId="{F9DF37DA-6AE4-45A7-9D84-E819F2C2A6E2}" dt="2022-02-17T05:56:41.436" v="6" actId="478"/>
          <ac:spMkLst>
            <pc:docMk/>
            <pc:sldMk cId="2381843795" sldId="362"/>
            <ac:spMk id="7" creationId="{5E1B9B34-CFED-4C21-90AE-259E27A1D523}"/>
          </ac:spMkLst>
        </pc:spChg>
        <pc:graphicFrameChg chg="del mod">
          <ac:chgData name="Gintare Vitkauskaite" userId="fcee79df-4ed1-45d4-8c05-9b9f3354d122" providerId="ADAL" clId="{F9DF37DA-6AE4-45A7-9D84-E819F2C2A6E2}" dt="2022-02-17T05:56:39.144" v="5" actId="478"/>
          <ac:graphicFrameMkLst>
            <pc:docMk/>
            <pc:sldMk cId="2381843795" sldId="362"/>
            <ac:graphicFrameMk id="2" creationId="{00000000-0000-0000-0000-000000000000}"/>
          </ac:graphicFrameMkLst>
        </pc:graphicFrameChg>
        <pc:picChg chg="del">
          <ac:chgData name="Gintare Vitkauskaite" userId="fcee79df-4ed1-45d4-8c05-9b9f3354d122" providerId="ADAL" clId="{F9DF37DA-6AE4-45A7-9D84-E819F2C2A6E2}" dt="2022-02-17T05:56:16" v="0" actId="478"/>
          <ac:picMkLst>
            <pc:docMk/>
            <pc:sldMk cId="2381843795" sldId="362"/>
            <ac:picMk id="6" creationId="{A66C4986-5CC2-46B0-9A36-83F4C67C58A7}"/>
          </ac:picMkLst>
        </pc:picChg>
        <pc:picChg chg="del mod">
          <ac:chgData name="Gintare Vitkauskaite" userId="fcee79df-4ed1-45d4-8c05-9b9f3354d122" providerId="ADAL" clId="{F9DF37DA-6AE4-45A7-9D84-E819F2C2A6E2}" dt="2022-02-17T06:29:37.975" v="636" actId="478"/>
          <ac:picMkLst>
            <pc:docMk/>
            <pc:sldMk cId="2381843795" sldId="362"/>
            <ac:picMk id="9" creationId="{969F6516-E574-473B-9833-5CDD3B0A50FC}"/>
          </ac:picMkLst>
        </pc:picChg>
        <pc:picChg chg="add mod modCrop">
          <ac:chgData name="Gintare Vitkauskaite" userId="fcee79df-4ed1-45d4-8c05-9b9f3354d122" providerId="ADAL" clId="{F9DF37DA-6AE4-45A7-9D84-E819F2C2A6E2}" dt="2022-02-17T05:57:31.059" v="12" actId="1076"/>
          <ac:picMkLst>
            <pc:docMk/>
            <pc:sldMk cId="2381843795" sldId="362"/>
            <ac:picMk id="10" creationId="{CD0E40F8-DB58-4788-BD25-DFB22431AFA2}"/>
          </ac:picMkLst>
        </pc:picChg>
        <pc:picChg chg="add mod">
          <ac:chgData name="Gintare Vitkauskaite" userId="fcee79df-4ed1-45d4-8c05-9b9f3354d122" providerId="ADAL" clId="{F9DF37DA-6AE4-45A7-9D84-E819F2C2A6E2}" dt="2022-02-17T06:30:08.139" v="648" actId="1036"/>
          <ac:picMkLst>
            <pc:docMk/>
            <pc:sldMk cId="2381843795" sldId="362"/>
            <ac:picMk id="11" creationId="{9636F4AE-2D74-443F-ADE0-877FACA49E41}"/>
          </ac:picMkLst>
        </pc:picChg>
        <pc:picChg chg="mod">
          <ac:chgData name="Gintare Vitkauskaite" userId="fcee79df-4ed1-45d4-8c05-9b9f3354d122" providerId="ADAL" clId="{F9DF37DA-6AE4-45A7-9D84-E819F2C2A6E2}" dt="2022-02-17T06:30:14.096" v="653" actId="1037"/>
          <ac:picMkLst>
            <pc:docMk/>
            <pc:sldMk cId="2381843795" sldId="362"/>
            <ac:picMk id="12" creationId="{6F945249-6785-49DD-B994-54297FD2D264}"/>
          </ac:picMkLst>
        </pc:picChg>
        <pc:picChg chg="del">
          <ac:chgData name="Gintare Vitkauskaite" userId="fcee79df-4ed1-45d4-8c05-9b9f3354d122" providerId="ADAL" clId="{F9DF37DA-6AE4-45A7-9D84-E819F2C2A6E2}" dt="2022-02-17T05:56:17.719" v="1" actId="478"/>
          <ac:picMkLst>
            <pc:docMk/>
            <pc:sldMk cId="2381843795" sldId="362"/>
            <ac:picMk id="13" creationId="{0B6EF259-53CD-45D1-AA0C-BED75B1FA092}"/>
          </ac:picMkLst>
        </pc:picChg>
      </pc:sldChg>
      <pc:sldChg chg="delSp modSp mod modNotesTx">
        <pc:chgData name="Gintare Vitkauskaite" userId="fcee79df-4ed1-45d4-8c05-9b9f3354d122" providerId="ADAL" clId="{F9DF37DA-6AE4-45A7-9D84-E819F2C2A6E2}" dt="2022-02-17T06:26:34.508" v="600" actId="1035"/>
        <pc:sldMkLst>
          <pc:docMk/>
          <pc:sldMk cId="1215038336" sldId="433"/>
        </pc:sldMkLst>
        <pc:spChg chg="del">
          <ac:chgData name="Gintare Vitkauskaite" userId="fcee79df-4ed1-45d4-8c05-9b9f3354d122" providerId="ADAL" clId="{F9DF37DA-6AE4-45A7-9D84-E819F2C2A6E2}" dt="2022-02-17T06:26:29.218" v="569" actId="478"/>
          <ac:spMkLst>
            <pc:docMk/>
            <pc:sldMk cId="1215038336" sldId="433"/>
            <ac:spMk id="9" creationId="{40D71293-050C-4B8F-92E2-2830F053F16F}"/>
          </ac:spMkLst>
        </pc:spChg>
        <pc:graphicFrameChg chg="mod">
          <ac:chgData name="Gintare Vitkauskaite" userId="fcee79df-4ed1-45d4-8c05-9b9f3354d122" providerId="ADAL" clId="{F9DF37DA-6AE4-45A7-9D84-E819F2C2A6E2}" dt="2022-02-17T06:26:34.508" v="600" actId="1035"/>
          <ac:graphicFrameMkLst>
            <pc:docMk/>
            <pc:sldMk cId="1215038336" sldId="433"/>
            <ac:graphicFrameMk id="4" creationId="{E751B667-B24D-454A-9B1B-C2A34F00FAB3}"/>
          </ac:graphicFrameMkLst>
        </pc:graphicFrameChg>
      </pc:sldChg>
      <pc:sldChg chg="modSp mod">
        <pc:chgData name="Gintare Vitkauskaite" userId="fcee79df-4ed1-45d4-8c05-9b9f3354d122" providerId="ADAL" clId="{F9DF37DA-6AE4-45A7-9D84-E819F2C2A6E2}" dt="2022-02-17T06:13:35.919" v="351" actId="20577"/>
        <pc:sldMkLst>
          <pc:docMk/>
          <pc:sldMk cId="1083499074" sldId="440"/>
        </pc:sldMkLst>
        <pc:spChg chg="mod">
          <ac:chgData name="Gintare Vitkauskaite" userId="fcee79df-4ed1-45d4-8c05-9b9f3354d122" providerId="ADAL" clId="{F9DF37DA-6AE4-45A7-9D84-E819F2C2A6E2}" dt="2022-02-17T06:13:35.919" v="351" actId="20577"/>
          <ac:spMkLst>
            <pc:docMk/>
            <pc:sldMk cId="1083499074" sldId="440"/>
            <ac:spMk id="2" creationId="{24E19412-BA6A-408B-90C4-BF3FB3BE9B6B}"/>
          </ac:spMkLst>
        </pc:spChg>
      </pc:sldChg>
      <pc:sldChg chg="modSp mod">
        <pc:chgData name="Gintare Vitkauskaite" userId="fcee79df-4ed1-45d4-8c05-9b9f3354d122" providerId="ADAL" clId="{F9DF37DA-6AE4-45A7-9D84-E819F2C2A6E2}" dt="2022-02-17T06:14:07.665" v="385" actId="20577"/>
        <pc:sldMkLst>
          <pc:docMk/>
          <pc:sldMk cId="500580820" sldId="441"/>
        </pc:sldMkLst>
        <pc:spChg chg="mod">
          <ac:chgData name="Gintare Vitkauskaite" userId="fcee79df-4ed1-45d4-8c05-9b9f3354d122" providerId="ADAL" clId="{F9DF37DA-6AE4-45A7-9D84-E819F2C2A6E2}" dt="2022-02-17T06:14:07.665" v="385" actId="20577"/>
          <ac:spMkLst>
            <pc:docMk/>
            <pc:sldMk cId="500580820" sldId="441"/>
            <ac:spMk id="2" creationId="{915E3DDC-EAB2-4739-B6F6-341C99C2599E}"/>
          </ac:spMkLst>
        </pc:spChg>
      </pc:sldChg>
      <pc:sldChg chg="ord">
        <pc:chgData name="Gintare Vitkauskaite" userId="fcee79df-4ed1-45d4-8c05-9b9f3354d122" providerId="ADAL" clId="{F9DF37DA-6AE4-45A7-9D84-E819F2C2A6E2}" dt="2022-02-17T06:26:58.857" v="602"/>
        <pc:sldMkLst>
          <pc:docMk/>
          <pc:sldMk cId="1887488718" sldId="450"/>
        </pc:sldMkLst>
      </pc:sldChg>
      <pc:sldChg chg="modSp mod">
        <pc:chgData name="Gintare Vitkauskaite" userId="fcee79df-4ed1-45d4-8c05-9b9f3354d122" providerId="ADAL" clId="{F9DF37DA-6AE4-45A7-9D84-E819F2C2A6E2}" dt="2022-02-17T06:28:05.126" v="634" actId="20577"/>
        <pc:sldMkLst>
          <pc:docMk/>
          <pc:sldMk cId="3929339795" sldId="453"/>
        </pc:sldMkLst>
        <pc:spChg chg="mod">
          <ac:chgData name="Gintare Vitkauskaite" userId="fcee79df-4ed1-45d4-8c05-9b9f3354d122" providerId="ADAL" clId="{F9DF37DA-6AE4-45A7-9D84-E819F2C2A6E2}" dt="2022-02-17T06:28:05.126" v="634" actId="20577"/>
          <ac:spMkLst>
            <pc:docMk/>
            <pc:sldMk cId="3929339795" sldId="453"/>
            <ac:spMk id="12" creationId="{2A476A9C-E995-480E-8E94-35DA286ECA22}"/>
          </ac:spMkLst>
        </pc:spChg>
      </pc:sldChg>
      <pc:sldChg chg="modSp mod">
        <pc:chgData name="Gintare Vitkauskaite" userId="fcee79df-4ed1-45d4-8c05-9b9f3354d122" providerId="ADAL" clId="{F9DF37DA-6AE4-45A7-9D84-E819F2C2A6E2}" dt="2022-02-17T06:17:11.428" v="555" actId="20577"/>
        <pc:sldMkLst>
          <pc:docMk/>
          <pc:sldMk cId="1153953872" sldId="465"/>
        </pc:sldMkLst>
        <pc:spChg chg="mod">
          <ac:chgData name="Gintare Vitkauskaite" userId="fcee79df-4ed1-45d4-8c05-9b9f3354d122" providerId="ADAL" clId="{F9DF37DA-6AE4-45A7-9D84-E819F2C2A6E2}" dt="2022-02-17T06:17:11.428" v="555" actId="20577"/>
          <ac:spMkLst>
            <pc:docMk/>
            <pc:sldMk cId="1153953872" sldId="465"/>
            <ac:spMk id="53" creationId="{A347CF0E-C2E2-44BD-81B2-6E6C77E718A9}"/>
          </ac:spMkLst>
        </pc:spChg>
        <pc:spChg chg="mod">
          <ac:chgData name="Gintare Vitkauskaite" userId="fcee79df-4ed1-45d4-8c05-9b9f3354d122" providerId="ADAL" clId="{F9DF37DA-6AE4-45A7-9D84-E819F2C2A6E2}" dt="2022-02-17T06:16:39.088" v="522" actId="1036"/>
          <ac:spMkLst>
            <pc:docMk/>
            <pc:sldMk cId="1153953872" sldId="465"/>
            <ac:spMk id="56" creationId="{99A6280F-9012-4AE6-831B-39CCCB519AE5}"/>
          </ac:spMkLst>
        </pc:spChg>
        <pc:grpChg chg="mod">
          <ac:chgData name="Gintare Vitkauskaite" userId="fcee79df-4ed1-45d4-8c05-9b9f3354d122" providerId="ADAL" clId="{F9DF37DA-6AE4-45A7-9D84-E819F2C2A6E2}" dt="2022-02-17T06:16:53.278" v="531" actId="1036"/>
          <ac:grpSpMkLst>
            <pc:docMk/>
            <pc:sldMk cId="1153953872" sldId="465"/>
            <ac:grpSpMk id="49" creationId="{84DF5076-1DA5-4282-925D-B07553CA42E4}"/>
          </ac:grpSpMkLst>
        </pc:grpChg>
        <pc:cxnChg chg="mod">
          <ac:chgData name="Gintare Vitkauskaite" userId="fcee79df-4ed1-45d4-8c05-9b9f3354d122" providerId="ADAL" clId="{F9DF37DA-6AE4-45A7-9D84-E819F2C2A6E2}" dt="2022-02-17T06:16:31.008" v="506" actId="1036"/>
          <ac:cxnSpMkLst>
            <pc:docMk/>
            <pc:sldMk cId="1153953872" sldId="465"/>
            <ac:cxnSpMk id="51" creationId="{7479AB89-6B83-46C1-96CB-2EA50C2AC17B}"/>
          </ac:cxnSpMkLst>
        </pc:cxnChg>
      </pc:sldChg>
      <pc:sldChg chg="modSp mod">
        <pc:chgData name="Gintare Vitkauskaite" userId="fcee79df-4ed1-45d4-8c05-9b9f3354d122" providerId="ADAL" clId="{F9DF37DA-6AE4-45A7-9D84-E819F2C2A6E2}" dt="2022-02-17T06:24:57.117" v="564" actId="20577"/>
        <pc:sldMkLst>
          <pc:docMk/>
          <pc:sldMk cId="193828604" sldId="466"/>
        </pc:sldMkLst>
        <pc:spChg chg="mod">
          <ac:chgData name="Gintare Vitkauskaite" userId="fcee79df-4ed1-45d4-8c05-9b9f3354d122" providerId="ADAL" clId="{F9DF37DA-6AE4-45A7-9D84-E819F2C2A6E2}" dt="2022-02-17T06:24:57.117" v="564" actId="20577"/>
          <ac:spMkLst>
            <pc:docMk/>
            <pc:sldMk cId="193828604" sldId="466"/>
            <ac:spMk id="17" creationId="{5325A1A7-0F0C-44F3-8DFD-586133FCFBC2}"/>
          </ac:spMkLst>
        </pc:spChg>
      </pc:sldChg>
      <pc:sldChg chg="modSp mod">
        <pc:chgData name="Gintare Vitkauskaite" userId="fcee79df-4ed1-45d4-8c05-9b9f3354d122" providerId="ADAL" clId="{F9DF37DA-6AE4-45A7-9D84-E819F2C2A6E2}" dt="2022-02-17T06:27:37.277" v="625" actId="20577"/>
        <pc:sldMkLst>
          <pc:docMk/>
          <pc:sldMk cId="780515129" sldId="470"/>
        </pc:sldMkLst>
        <pc:spChg chg="mod">
          <ac:chgData name="Gintare Vitkauskaite" userId="fcee79df-4ed1-45d4-8c05-9b9f3354d122" providerId="ADAL" clId="{F9DF37DA-6AE4-45A7-9D84-E819F2C2A6E2}" dt="2022-02-17T06:27:37.277" v="625" actId="20577"/>
          <ac:spMkLst>
            <pc:docMk/>
            <pc:sldMk cId="780515129" sldId="470"/>
            <ac:spMk id="39" creationId="{E4B6382C-1478-43D6-921B-96F2A843BB7A}"/>
          </ac:spMkLst>
        </pc:spChg>
      </pc:sldChg>
      <pc:sldChg chg="addSp delSp modSp mod">
        <pc:chgData name="Gintare Vitkauskaite" userId="fcee79df-4ed1-45d4-8c05-9b9f3354d122" providerId="ADAL" clId="{F9DF37DA-6AE4-45A7-9D84-E819F2C2A6E2}" dt="2022-02-17T06:13:09.109" v="350" actId="20577"/>
        <pc:sldMkLst>
          <pc:docMk/>
          <pc:sldMk cId="542612597" sldId="473"/>
        </pc:sldMkLst>
        <pc:graphicFrameChg chg="del mod">
          <ac:chgData name="Gintare Vitkauskaite" userId="fcee79df-4ed1-45d4-8c05-9b9f3354d122" providerId="ADAL" clId="{F9DF37DA-6AE4-45A7-9D84-E819F2C2A6E2}" dt="2022-02-17T05:59:33.470" v="63" actId="478"/>
          <ac:graphicFrameMkLst>
            <pc:docMk/>
            <pc:sldMk cId="542612597" sldId="473"/>
            <ac:graphicFrameMk id="4" creationId="{46B092D2-542D-41F9-9D3F-3FDB0D02DBFB}"/>
          </ac:graphicFrameMkLst>
        </pc:graphicFrameChg>
        <pc:graphicFrameChg chg="add mod modGraphic">
          <ac:chgData name="Gintare Vitkauskaite" userId="fcee79df-4ed1-45d4-8c05-9b9f3354d122" providerId="ADAL" clId="{F9DF37DA-6AE4-45A7-9D84-E819F2C2A6E2}" dt="2022-02-17T06:13:09.109" v="350" actId="20577"/>
          <ac:graphicFrameMkLst>
            <pc:docMk/>
            <pc:sldMk cId="542612597" sldId="473"/>
            <ac:graphicFrameMk id="5" creationId="{EAB3966B-163B-40FD-9277-DAA7C1911E65}"/>
          </ac:graphicFrameMkLst>
        </pc:graphicFrameChg>
      </pc:sldChg>
    </pc:docChg>
  </pc:docChgLst>
  <pc:docChgLst>
    <pc:chgData name="Ula Staigyte" userId="f6dd036f-ca91-4ba7-a32e-843cc9983a4c" providerId="ADAL" clId="{5131A641-90ED-4FE7-85C4-1D9CDE4DDF82}"/>
    <pc:docChg chg="undo redo custSel addSld delSld modSld sldOrd">
      <pc:chgData name="Ula Staigyte" userId="f6dd036f-ca91-4ba7-a32e-843cc9983a4c" providerId="ADAL" clId="{5131A641-90ED-4FE7-85C4-1D9CDE4DDF82}" dt="2022-01-19T09:08:21.844" v="160" actId="207"/>
      <pc:docMkLst>
        <pc:docMk/>
      </pc:docMkLst>
      <pc:sldChg chg="del">
        <pc:chgData name="Ula Staigyte" userId="f6dd036f-ca91-4ba7-a32e-843cc9983a4c" providerId="ADAL" clId="{5131A641-90ED-4FE7-85C4-1D9CDE4DDF82}" dt="2022-01-19T08:53:09.269" v="51" actId="47"/>
        <pc:sldMkLst>
          <pc:docMk/>
          <pc:sldMk cId="33856678" sldId="316"/>
        </pc:sldMkLst>
      </pc:sldChg>
      <pc:sldChg chg="modSp mod">
        <pc:chgData name="Ula Staigyte" userId="f6dd036f-ca91-4ba7-a32e-843cc9983a4c" providerId="ADAL" clId="{5131A641-90ED-4FE7-85C4-1D9CDE4DDF82}" dt="2022-01-19T08:02:54.380" v="0" actId="13926"/>
        <pc:sldMkLst>
          <pc:docMk/>
          <pc:sldMk cId="2381843795" sldId="362"/>
        </pc:sldMkLst>
        <pc:spChg chg="mod">
          <ac:chgData name="Ula Staigyte" userId="f6dd036f-ca91-4ba7-a32e-843cc9983a4c" providerId="ADAL" clId="{5131A641-90ED-4FE7-85C4-1D9CDE4DDF82}" dt="2022-01-19T08:02:54.380" v="0" actId="13926"/>
          <ac:spMkLst>
            <pc:docMk/>
            <pc:sldMk cId="2381843795" sldId="362"/>
            <ac:spMk id="4" creationId="{00000000-0000-0000-0000-000000000000}"/>
          </ac:spMkLst>
        </pc:spChg>
      </pc:sldChg>
      <pc:sldChg chg="new del">
        <pc:chgData name="Ula Staigyte" userId="f6dd036f-ca91-4ba7-a32e-843cc9983a4c" providerId="ADAL" clId="{5131A641-90ED-4FE7-85C4-1D9CDE4DDF82}" dt="2022-01-19T08:50:48.963" v="2" actId="680"/>
        <pc:sldMkLst>
          <pc:docMk/>
          <pc:sldMk cId="645290028" sldId="406"/>
        </pc:sldMkLst>
      </pc:sldChg>
      <pc:sldChg chg="addSp delSp modSp add mod addCm">
        <pc:chgData name="Ula Staigyte" userId="f6dd036f-ca91-4ba7-a32e-843cc9983a4c" providerId="ADAL" clId="{5131A641-90ED-4FE7-85C4-1D9CDE4DDF82}" dt="2022-01-19T09:01:28.213" v="118" actId="207"/>
        <pc:sldMkLst>
          <pc:docMk/>
          <pc:sldMk cId="2201633665" sldId="406"/>
        </pc:sldMkLst>
        <pc:spChg chg="del">
          <ac:chgData name="Ula Staigyte" userId="f6dd036f-ca91-4ba7-a32e-843cc9983a4c" providerId="ADAL" clId="{5131A641-90ED-4FE7-85C4-1D9CDE4DDF82}" dt="2022-01-19T08:51:36.221" v="17" actId="478"/>
          <ac:spMkLst>
            <pc:docMk/>
            <pc:sldMk cId="2201633665" sldId="406"/>
            <ac:spMk id="6" creationId="{C72C210C-4402-4C69-BC21-B07DFB83790B}"/>
          </ac:spMkLst>
        </pc:spChg>
        <pc:spChg chg="del">
          <ac:chgData name="Ula Staigyte" userId="f6dd036f-ca91-4ba7-a32e-843cc9983a4c" providerId="ADAL" clId="{5131A641-90ED-4FE7-85C4-1D9CDE4DDF82}" dt="2022-01-19T08:51:33.854" v="14" actId="478"/>
          <ac:spMkLst>
            <pc:docMk/>
            <pc:sldMk cId="2201633665" sldId="406"/>
            <ac:spMk id="7" creationId="{63423910-00E1-475C-A3B6-5D820EA8D135}"/>
          </ac:spMkLst>
        </pc:spChg>
        <pc:spChg chg="del">
          <ac:chgData name="Ula Staigyte" userId="f6dd036f-ca91-4ba7-a32e-843cc9983a4c" providerId="ADAL" clId="{5131A641-90ED-4FE7-85C4-1D9CDE4DDF82}" dt="2022-01-19T08:51:31.892" v="11" actId="478"/>
          <ac:spMkLst>
            <pc:docMk/>
            <pc:sldMk cId="2201633665" sldId="406"/>
            <ac:spMk id="8" creationId="{F3F012AF-80E9-4D13-B497-D48EE5B16BAF}"/>
          </ac:spMkLst>
        </pc:spChg>
        <pc:spChg chg="del">
          <ac:chgData name="Ula Staigyte" userId="f6dd036f-ca91-4ba7-a32e-843cc9983a4c" providerId="ADAL" clId="{5131A641-90ED-4FE7-85C4-1D9CDE4DDF82}" dt="2022-01-19T08:51:33.292" v="13" actId="478"/>
          <ac:spMkLst>
            <pc:docMk/>
            <pc:sldMk cId="2201633665" sldId="406"/>
            <ac:spMk id="9" creationId="{3CDED726-FFB1-44EA-971B-7866708E127C}"/>
          </ac:spMkLst>
        </pc:spChg>
        <pc:spChg chg="del">
          <ac:chgData name="Ula Staigyte" userId="f6dd036f-ca91-4ba7-a32e-843cc9983a4c" providerId="ADAL" clId="{5131A641-90ED-4FE7-85C4-1D9CDE4DDF82}" dt="2022-01-19T08:51:34.436" v="15" actId="478"/>
          <ac:spMkLst>
            <pc:docMk/>
            <pc:sldMk cId="2201633665" sldId="406"/>
            <ac:spMk id="10" creationId="{6E373C56-D89C-4093-9698-61CC1D49E948}"/>
          </ac:spMkLst>
        </pc:spChg>
        <pc:spChg chg="del">
          <ac:chgData name="Ula Staigyte" userId="f6dd036f-ca91-4ba7-a32e-843cc9983a4c" providerId="ADAL" clId="{5131A641-90ED-4FE7-85C4-1D9CDE4DDF82}" dt="2022-01-19T08:51:35.322" v="16" actId="478"/>
          <ac:spMkLst>
            <pc:docMk/>
            <pc:sldMk cId="2201633665" sldId="406"/>
            <ac:spMk id="11" creationId="{1CB83ABA-EF3F-4353-BA4B-97E05B553806}"/>
          </ac:spMkLst>
        </pc:spChg>
        <pc:spChg chg="del">
          <ac:chgData name="Ula Staigyte" userId="f6dd036f-ca91-4ba7-a32e-843cc9983a4c" providerId="ADAL" clId="{5131A641-90ED-4FE7-85C4-1D9CDE4DDF82}" dt="2022-01-19T08:51:30.751" v="10" actId="478"/>
          <ac:spMkLst>
            <pc:docMk/>
            <pc:sldMk cId="2201633665" sldId="406"/>
            <ac:spMk id="15" creationId="{DF28E01A-4267-49DF-BDA8-513302635FA5}"/>
          </ac:spMkLst>
        </pc:spChg>
        <pc:spChg chg="del">
          <ac:chgData name="Ula Staigyte" userId="f6dd036f-ca91-4ba7-a32e-843cc9983a4c" providerId="ADAL" clId="{5131A641-90ED-4FE7-85C4-1D9CDE4DDF82}" dt="2022-01-19T08:51:32.682" v="12" actId="478"/>
          <ac:spMkLst>
            <pc:docMk/>
            <pc:sldMk cId="2201633665" sldId="406"/>
            <ac:spMk id="16" creationId="{FC1D3A06-364D-433D-AA1D-6286395C9CF4}"/>
          </ac:spMkLst>
        </pc:spChg>
        <pc:spChg chg="mod">
          <ac:chgData name="Ula Staigyte" userId="f6dd036f-ca91-4ba7-a32e-843cc9983a4c" providerId="ADAL" clId="{5131A641-90ED-4FE7-85C4-1D9CDE4DDF82}" dt="2022-01-19T08:51:14.726" v="4"/>
          <ac:spMkLst>
            <pc:docMk/>
            <pc:sldMk cId="2201633665" sldId="406"/>
            <ac:spMk id="21" creationId="{0C2442E3-2048-4ABD-A2F1-453B1DB096BC}"/>
          </ac:spMkLst>
        </pc:spChg>
        <pc:spChg chg="mod">
          <ac:chgData name="Ula Staigyte" userId="f6dd036f-ca91-4ba7-a32e-843cc9983a4c" providerId="ADAL" clId="{5131A641-90ED-4FE7-85C4-1D9CDE4DDF82}" dt="2022-01-19T08:51:14.726" v="4"/>
          <ac:spMkLst>
            <pc:docMk/>
            <pc:sldMk cId="2201633665" sldId="406"/>
            <ac:spMk id="22" creationId="{B60DBAB1-2878-447F-9E78-1F6A06EEBF18}"/>
          </ac:spMkLst>
        </pc:spChg>
        <pc:spChg chg="mod">
          <ac:chgData name="Ula Staigyte" userId="f6dd036f-ca91-4ba7-a32e-843cc9983a4c" providerId="ADAL" clId="{5131A641-90ED-4FE7-85C4-1D9CDE4DDF82}" dt="2022-01-19T08:51:14.726" v="4"/>
          <ac:spMkLst>
            <pc:docMk/>
            <pc:sldMk cId="2201633665" sldId="406"/>
            <ac:spMk id="23" creationId="{CB8572B2-F4FE-42F0-B5D7-1BA0EDB64CD1}"/>
          </ac:spMkLst>
        </pc:spChg>
        <pc:spChg chg="mod">
          <ac:chgData name="Ula Staigyte" userId="f6dd036f-ca91-4ba7-a32e-843cc9983a4c" providerId="ADAL" clId="{5131A641-90ED-4FE7-85C4-1D9CDE4DDF82}" dt="2022-01-19T08:51:14.726" v="4"/>
          <ac:spMkLst>
            <pc:docMk/>
            <pc:sldMk cId="2201633665" sldId="406"/>
            <ac:spMk id="24" creationId="{84D2AEEE-D001-4C36-A775-6377F4E33FF9}"/>
          </ac:spMkLst>
        </pc:spChg>
        <pc:spChg chg="mod">
          <ac:chgData name="Ula Staigyte" userId="f6dd036f-ca91-4ba7-a32e-843cc9983a4c" providerId="ADAL" clId="{5131A641-90ED-4FE7-85C4-1D9CDE4DDF82}" dt="2022-01-19T08:51:14.726" v="4"/>
          <ac:spMkLst>
            <pc:docMk/>
            <pc:sldMk cId="2201633665" sldId="406"/>
            <ac:spMk id="25" creationId="{33F157E4-DB46-41CC-864D-F36484588B22}"/>
          </ac:spMkLst>
        </pc:spChg>
        <pc:spChg chg="mod">
          <ac:chgData name="Ula Staigyte" userId="f6dd036f-ca91-4ba7-a32e-843cc9983a4c" providerId="ADAL" clId="{5131A641-90ED-4FE7-85C4-1D9CDE4DDF82}" dt="2022-01-19T08:51:14.726" v="4"/>
          <ac:spMkLst>
            <pc:docMk/>
            <pc:sldMk cId="2201633665" sldId="406"/>
            <ac:spMk id="26" creationId="{1E09B85E-9BBA-458A-918D-AB9A4443A21F}"/>
          </ac:spMkLst>
        </pc:spChg>
        <pc:spChg chg="mod">
          <ac:chgData name="Ula Staigyte" userId="f6dd036f-ca91-4ba7-a32e-843cc9983a4c" providerId="ADAL" clId="{5131A641-90ED-4FE7-85C4-1D9CDE4DDF82}" dt="2022-01-19T08:51:23.250" v="7" actId="1076"/>
          <ac:spMkLst>
            <pc:docMk/>
            <pc:sldMk cId="2201633665" sldId="406"/>
            <ac:spMk id="27" creationId="{041A46C7-3231-49C5-8A57-BE9C3580F6EE}"/>
          </ac:spMkLst>
        </pc:spChg>
        <pc:spChg chg="mod">
          <ac:chgData name="Ula Staigyte" userId="f6dd036f-ca91-4ba7-a32e-843cc9983a4c" providerId="ADAL" clId="{5131A641-90ED-4FE7-85C4-1D9CDE4DDF82}" dt="2022-01-19T08:51:14.726" v="4"/>
          <ac:spMkLst>
            <pc:docMk/>
            <pc:sldMk cId="2201633665" sldId="406"/>
            <ac:spMk id="28" creationId="{327AA3A6-FE67-4604-9869-5B837BA5657B}"/>
          </ac:spMkLst>
        </pc:spChg>
        <pc:spChg chg="mod">
          <ac:chgData name="Ula Staigyte" userId="f6dd036f-ca91-4ba7-a32e-843cc9983a4c" providerId="ADAL" clId="{5131A641-90ED-4FE7-85C4-1D9CDE4DDF82}" dt="2022-01-19T08:51:14.726" v="4"/>
          <ac:spMkLst>
            <pc:docMk/>
            <pc:sldMk cId="2201633665" sldId="406"/>
            <ac:spMk id="29" creationId="{3B740966-0454-4E8E-8982-ED31D01BB2E5}"/>
          </ac:spMkLst>
        </pc:spChg>
        <pc:spChg chg="mod">
          <ac:chgData name="Ula Staigyte" userId="f6dd036f-ca91-4ba7-a32e-843cc9983a4c" providerId="ADAL" clId="{5131A641-90ED-4FE7-85C4-1D9CDE4DDF82}" dt="2022-01-19T08:51:14.726" v="4"/>
          <ac:spMkLst>
            <pc:docMk/>
            <pc:sldMk cId="2201633665" sldId="406"/>
            <ac:spMk id="30" creationId="{A2B08B83-FF6B-48B2-AA79-A3BAE2BCC4C6}"/>
          </ac:spMkLst>
        </pc:spChg>
        <pc:spChg chg="mod">
          <ac:chgData name="Ula Staigyte" userId="f6dd036f-ca91-4ba7-a32e-843cc9983a4c" providerId="ADAL" clId="{5131A641-90ED-4FE7-85C4-1D9CDE4DDF82}" dt="2022-01-19T08:51:14.726" v="4"/>
          <ac:spMkLst>
            <pc:docMk/>
            <pc:sldMk cId="2201633665" sldId="406"/>
            <ac:spMk id="31" creationId="{F9B745BA-9D1E-427F-822F-DC208593237E}"/>
          </ac:spMkLst>
        </pc:spChg>
        <pc:spChg chg="mod">
          <ac:chgData name="Ula Staigyte" userId="f6dd036f-ca91-4ba7-a32e-843cc9983a4c" providerId="ADAL" clId="{5131A641-90ED-4FE7-85C4-1D9CDE4DDF82}" dt="2022-01-19T08:52:46.604" v="23"/>
          <ac:spMkLst>
            <pc:docMk/>
            <pc:sldMk cId="2201633665" sldId="406"/>
            <ac:spMk id="38" creationId="{CE778F19-9973-4789-8210-501FEA8641BC}"/>
          </ac:spMkLst>
        </pc:spChg>
        <pc:spChg chg="mod">
          <ac:chgData name="Ula Staigyte" userId="f6dd036f-ca91-4ba7-a32e-843cc9983a4c" providerId="ADAL" clId="{5131A641-90ED-4FE7-85C4-1D9CDE4DDF82}" dt="2022-01-19T08:51:39.214" v="18"/>
          <ac:spMkLst>
            <pc:docMk/>
            <pc:sldMk cId="2201633665" sldId="406"/>
            <ac:spMk id="39" creationId="{65E4ECB0-6DD4-4DB9-A648-CF5A7E48DDA3}"/>
          </ac:spMkLst>
        </pc:spChg>
        <pc:spChg chg="mod">
          <ac:chgData name="Ula Staigyte" userId="f6dd036f-ca91-4ba7-a32e-843cc9983a4c" providerId="ADAL" clId="{5131A641-90ED-4FE7-85C4-1D9CDE4DDF82}" dt="2022-01-19T08:53:04.271" v="50" actId="20577"/>
          <ac:spMkLst>
            <pc:docMk/>
            <pc:sldMk cId="2201633665" sldId="406"/>
            <ac:spMk id="40" creationId="{7A4F7596-014D-4FEF-AF47-6E163A37FE3C}"/>
          </ac:spMkLst>
        </pc:spChg>
        <pc:spChg chg="mod">
          <ac:chgData name="Ula Staigyte" userId="f6dd036f-ca91-4ba7-a32e-843cc9983a4c" providerId="ADAL" clId="{5131A641-90ED-4FE7-85C4-1D9CDE4DDF82}" dt="2022-01-19T08:51:39.214" v="18"/>
          <ac:spMkLst>
            <pc:docMk/>
            <pc:sldMk cId="2201633665" sldId="406"/>
            <ac:spMk id="41" creationId="{00F32C2A-6E60-4126-8B0B-34C9C71E4591}"/>
          </ac:spMkLst>
        </pc:spChg>
        <pc:spChg chg="mod">
          <ac:chgData name="Ula Staigyte" userId="f6dd036f-ca91-4ba7-a32e-843cc9983a4c" providerId="ADAL" clId="{5131A641-90ED-4FE7-85C4-1D9CDE4DDF82}" dt="2022-01-19T09:01:28.213" v="118" actId="207"/>
          <ac:spMkLst>
            <pc:docMk/>
            <pc:sldMk cId="2201633665" sldId="406"/>
            <ac:spMk id="42" creationId="{A9DE21E8-28C0-41CD-8F6B-AA3F5396D37D}"/>
          </ac:spMkLst>
        </pc:spChg>
        <pc:spChg chg="mod">
          <ac:chgData name="Ula Staigyte" userId="f6dd036f-ca91-4ba7-a32e-843cc9983a4c" providerId="ADAL" clId="{5131A641-90ED-4FE7-85C4-1D9CDE4DDF82}" dt="2022-01-19T08:51:39.214" v="18"/>
          <ac:spMkLst>
            <pc:docMk/>
            <pc:sldMk cId="2201633665" sldId="406"/>
            <ac:spMk id="43" creationId="{8DAE5641-2686-4C2F-9D6C-1E4E8AA504D4}"/>
          </ac:spMkLst>
        </pc:spChg>
        <pc:spChg chg="mod">
          <ac:chgData name="Ula Staigyte" userId="f6dd036f-ca91-4ba7-a32e-843cc9983a4c" providerId="ADAL" clId="{5131A641-90ED-4FE7-85C4-1D9CDE4DDF82}" dt="2022-01-19T08:52:06.461" v="20"/>
          <ac:spMkLst>
            <pc:docMk/>
            <pc:sldMk cId="2201633665" sldId="406"/>
            <ac:spMk id="44" creationId="{1CE5F035-5EF9-4C2B-A122-415CDBC76807}"/>
          </ac:spMkLst>
        </pc:spChg>
        <pc:spChg chg="mod">
          <ac:chgData name="Ula Staigyte" userId="f6dd036f-ca91-4ba7-a32e-843cc9983a4c" providerId="ADAL" clId="{5131A641-90ED-4FE7-85C4-1D9CDE4DDF82}" dt="2022-01-19T08:51:39.214" v="18"/>
          <ac:spMkLst>
            <pc:docMk/>
            <pc:sldMk cId="2201633665" sldId="406"/>
            <ac:spMk id="45" creationId="{AE31B9C5-5BCF-432C-91EB-B468128FEA41}"/>
          </ac:spMkLst>
        </pc:spChg>
        <pc:spChg chg="mod">
          <ac:chgData name="Ula Staigyte" userId="f6dd036f-ca91-4ba7-a32e-843cc9983a4c" providerId="ADAL" clId="{5131A641-90ED-4FE7-85C4-1D9CDE4DDF82}" dt="2022-01-19T08:51:39.214" v="18"/>
          <ac:spMkLst>
            <pc:docMk/>
            <pc:sldMk cId="2201633665" sldId="406"/>
            <ac:spMk id="46" creationId="{DE391F14-887D-4301-865D-8FA664521DBC}"/>
          </ac:spMkLst>
        </pc:spChg>
        <pc:spChg chg="mod">
          <ac:chgData name="Ula Staigyte" userId="f6dd036f-ca91-4ba7-a32e-843cc9983a4c" providerId="ADAL" clId="{5131A641-90ED-4FE7-85C4-1D9CDE4DDF82}" dt="2022-01-19T08:52:34.002" v="22"/>
          <ac:spMkLst>
            <pc:docMk/>
            <pc:sldMk cId="2201633665" sldId="406"/>
            <ac:spMk id="47" creationId="{2A830FF9-5090-4B04-8449-AD8528C0503B}"/>
          </ac:spMkLst>
        </pc:spChg>
        <pc:spChg chg="mod">
          <ac:chgData name="Ula Staigyte" userId="f6dd036f-ca91-4ba7-a32e-843cc9983a4c" providerId="ADAL" clId="{5131A641-90ED-4FE7-85C4-1D9CDE4DDF82}" dt="2022-01-19T08:51:39.214" v="18"/>
          <ac:spMkLst>
            <pc:docMk/>
            <pc:sldMk cId="2201633665" sldId="406"/>
            <ac:spMk id="48" creationId="{49330149-D5AB-4AEC-BAA9-502770030AE3}"/>
          </ac:spMkLst>
        </pc:spChg>
        <pc:grpChg chg="add del mod">
          <ac:chgData name="Ula Staigyte" userId="f6dd036f-ca91-4ba7-a32e-843cc9983a4c" providerId="ADAL" clId="{5131A641-90ED-4FE7-85C4-1D9CDE4DDF82}" dt="2022-01-19T08:51:26.649" v="9"/>
          <ac:grpSpMkLst>
            <pc:docMk/>
            <pc:sldMk cId="2201633665" sldId="406"/>
            <ac:grpSpMk id="13" creationId="{E3CD41E4-BB9A-468D-99C2-2379067A7A5B}"/>
          </ac:grpSpMkLst>
        </pc:grpChg>
        <pc:grpChg chg="mod">
          <ac:chgData name="Ula Staigyte" userId="f6dd036f-ca91-4ba7-a32e-843cc9983a4c" providerId="ADAL" clId="{5131A641-90ED-4FE7-85C4-1D9CDE4DDF82}" dt="2022-01-19T08:51:14.726" v="4"/>
          <ac:grpSpMkLst>
            <pc:docMk/>
            <pc:sldMk cId="2201633665" sldId="406"/>
            <ac:grpSpMk id="14" creationId="{C074D358-0090-4390-9EC6-0D799FC46AA6}"/>
          </ac:grpSpMkLst>
        </pc:grpChg>
        <pc:grpChg chg="mod">
          <ac:chgData name="Ula Staigyte" userId="f6dd036f-ca91-4ba7-a32e-843cc9983a4c" providerId="ADAL" clId="{5131A641-90ED-4FE7-85C4-1D9CDE4DDF82}" dt="2022-01-19T08:51:14.726" v="4"/>
          <ac:grpSpMkLst>
            <pc:docMk/>
            <pc:sldMk cId="2201633665" sldId="406"/>
            <ac:grpSpMk id="17" creationId="{C787A720-33B1-4C40-A341-00537AFA0B4A}"/>
          </ac:grpSpMkLst>
        </pc:grpChg>
        <pc:grpChg chg="mod">
          <ac:chgData name="Ula Staigyte" userId="f6dd036f-ca91-4ba7-a32e-843cc9983a4c" providerId="ADAL" clId="{5131A641-90ED-4FE7-85C4-1D9CDE4DDF82}" dt="2022-01-19T08:51:14.726" v="4"/>
          <ac:grpSpMkLst>
            <pc:docMk/>
            <pc:sldMk cId="2201633665" sldId="406"/>
            <ac:grpSpMk id="18" creationId="{CD9125D7-D830-4739-926F-29E27A7AD692}"/>
          </ac:grpSpMkLst>
        </pc:grpChg>
        <pc:grpChg chg="mod">
          <ac:chgData name="Ula Staigyte" userId="f6dd036f-ca91-4ba7-a32e-843cc9983a4c" providerId="ADAL" clId="{5131A641-90ED-4FE7-85C4-1D9CDE4DDF82}" dt="2022-01-19T08:51:14.726" v="4"/>
          <ac:grpSpMkLst>
            <pc:docMk/>
            <pc:sldMk cId="2201633665" sldId="406"/>
            <ac:grpSpMk id="19" creationId="{4EE1D560-CCC5-41C1-9678-FF9B01056D34}"/>
          </ac:grpSpMkLst>
        </pc:grpChg>
        <pc:grpChg chg="mod">
          <ac:chgData name="Ula Staigyte" userId="f6dd036f-ca91-4ba7-a32e-843cc9983a4c" providerId="ADAL" clId="{5131A641-90ED-4FE7-85C4-1D9CDE4DDF82}" dt="2022-01-19T08:51:14.726" v="4"/>
          <ac:grpSpMkLst>
            <pc:docMk/>
            <pc:sldMk cId="2201633665" sldId="406"/>
            <ac:grpSpMk id="20" creationId="{F7F808BF-5C33-454F-873B-0C34BCB60EB7}"/>
          </ac:grpSpMkLst>
        </pc:grpChg>
        <pc:grpChg chg="add mod">
          <ac:chgData name="Ula Staigyte" userId="f6dd036f-ca91-4ba7-a32e-843cc9983a4c" providerId="ADAL" clId="{5131A641-90ED-4FE7-85C4-1D9CDE4DDF82}" dt="2022-01-19T08:54:34.628" v="54" actId="1076"/>
          <ac:grpSpMkLst>
            <pc:docMk/>
            <pc:sldMk cId="2201633665" sldId="406"/>
            <ac:grpSpMk id="32" creationId="{FADC51F2-BE60-478A-BC01-4D0B32C08E41}"/>
          </ac:grpSpMkLst>
        </pc:grpChg>
        <pc:grpChg chg="mod">
          <ac:chgData name="Ula Staigyte" userId="f6dd036f-ca91-4ba7-a32e-843cc9983a4c" providerId="ADAL" clId="{5131A641-90ED-4FE7-85C4-1D9CDE4DDF82}" dt="2022-01-19T08:51:39.214" v="18"/>
          <ac:grpSpMkLst>
            <pc:docMk/>
            <pc:sldMk cId="2201633665" sldId="406"/>
            <ac:grpSpMk id="33" creationId="{5488C7E4-2648-40C2-B66D-E6DDB3D9EF3B}"/>
          </ac:grpSpMkLst>
        </pc:grpChg>
        <pc:grpChg chg="mod">
          <ac:chgData name="Ula Staigyte" userId="f6dd036f-ca91-4ba7-a32e-843cc9983a4c" providerId="ADAL" clId="{5131A641-90ED-4FE7-85C4-1D9CDE4DDF82}" dt="2022-01-19T08:51:39.214" v="18"/>
          <ac:grpSpMkLst>
            <pc:docMk/>
            <pc:sldMk cId="2201633665" sldId="406"/>
            <ac:grpSpMk id="34" creationId="{41FEE596-176A-4773-A1B7-736C8B8D9DF0}"/>
          </ac:grpSpMkLst>
        </pc:grpChg>
        <pc:grpChg chg="mod">
          <ac:chgData name="Ula Staigyte" userId="f6dd036f-ca91-4ba7-a32e-843cc9983a4c" providerId="ADAL" clId="{5131A641-90ED-4FE7-85C4-1D9CDE4DDF82}" dt="2022-01-19T08:51:39.214" v="18"/>
          <ac:grpSpMkLst>
            <pc:docMk/>
            <pc:sldMk cId="2201633665" sldId="406"/>
            <ac:grpSpMk id="35" creationId="{E5BEDE7A-91E1-4BAF-B200-00FEE71510F3}"/>
          </ac:grpSpMkLst>
        </pc:grpChg>
        <pc:grpChg chg="mod">
          <ac:chgData name="Ula Staigyte" userId="f6dd036f-ca91-4ba7-a32e-843cc9983a4c" providerId="ADAL" clId="{5131A641-90ED-4FE7-85C4-1D9CDE4DDF82}" dt="2022-01-19T08:51:39.214" v="18"/>
          <ac:grpSpMkLst>
            <pc:docMk/>
            <pc:sldMk cId="2201633665" sldId="406"/>
            <ac:grpSpMk id="36" creationId="{A1A39D59-24B9-4D38-B215-8BCC89EFB384}"/>
          </ac:grpSpMkLst>
        </pc:grpChg>
        <pc:grpChg chg="mod">
          <ac:chgData name="Ula Staigyte" userId="f6dd036f-ca91-4ba7-a32e-843cc9983a4c" providerId="ADAL" clId="{5131A641-90ED-4FE7-85C4-1D9CDE4DDF82}" dt="2022-01-19T08:51:39.214" v="18"/>
          <ac:grpSpMkLst>
            <pc:docMk/>
            <pc:sldMk cId="2201633665" sldId="406"/>
            <ac:grpSpMk id="37" creationId="{37CCE6C3-2EB8-4AA6-988B-B68FCDB49E6F}"/>
          </ac:grpSpMkLst>
        </pc:grpChg>
      </pc:sldChg>
      <pc:sldChg chg="new del">
        <pc:chgData name="Ula Staigyte" userId="f6dd036f-ca91-4ba7-a32e-843cc9983a4c" providerId="ADAL" clId="{5131A641-90ED-4FE7-85C4-1D9CDE4DDF82}" dt="2022-01-19T08:55:19.461" v="56" actId="47"/>
        <pc:sldMkLst>
          <pc:docMk/>
          <pc:sldMk cId="661868188" sldId="407"/>
        </pc:sldMkLst>
      </pc:sldChg>
      <pc:sldChg chg="addSp delSp modSp add mod">
        <pc:chgData name="Ula Staigyte" userId="f6dd036f-ca91-4ba7-a32e-843cc9983a4c" providerId="ADAL" clId="{5131A641-90ED-4FE7-85C4-1D9CDE4DDF82}" dt="2022-01-19T09:01:16.006" v="116" actId="207"/>
        <pc:sldMkLst>
          <pc:docMk/>
          <pc:sldMk cId="1703862666" sldId="407"/>
        </pc:sldMkLst>
        <pc:spChg chg="add del mod ord">
          <ac:chgData name="Ula Staigyte" userId="f6dd036f-ca91-4ba7-a32e-843cc9983a4c" providerId="ADAL" clId="{5131A641-90ED-4FE7-85C4-1D9CDE4DDF82}" dt="2022-01-19T08:56:36.461" v="75"/>
          <ac:spMkLst>
            <pc:docMk/>
            <pc:sldMk cId="1703862666" sldId="407"/>
            <ac:spMk id="20" creationId="{ACFDB89B-2323-4E29-B8F0-12ED25FBBC09}"/>
          </ac:spMkLst>
        </pc:spChg>
        <pc:spChg chg="add mod">
          <ac:chgData name="Ula Staigyte" userId="f6dd036f-ca91-4ba7-a32e-843cc9983a4c" providerId="ADAL" clId="{5131A641-90ED-4FE7-85C4-1D9CDE4DDF82}" dt="2022-01-19T08:57:01.532" v="91" actId="20577"/>
          <ac:spMkLst>
            <pc:docMk/>
            <pc:sldMk cId="1703862666" sldId="407"/>
            <ac:spMk id="21" creationId="{2918A5D4-8E98-4D89-9DE8-DDC6093F2BA6}"/>
          </ac:spMkLst>
        </pc:spChg>
        <pc:spChg chg="add mod">
          <ac:chgData name="Ula Staigyte" userId="f6dd036f-ca91-4ba7-a32e-843cc9983a4c" providerId="ADAL" clId="{5131A641-90ED-4FE7-85C4-1D9CDE4DDF82}" dt="2022-01-19T08:59:35.730" v="109" actId="207"/>
          <ac:spMkLst>
            <pc:docMk/>
            <pc:sldMk cId="1703862666" sldId="407"/>
            <ac:spMk id="22" creationId="{C6F4B485-6139-4684-9C2D-14454CB192B4}"/>
          </ac:spMkLst>
        </pc:spChg>
        <pc:spChg chg="add mod">
          <ac:chgData name="Ula Staigyte" userId="f6dd036f-ca91-4ba7-a32e-843cc9983a4c" providerId="ADAL" clId="{5131A641-90ED-4FE7-85C4-1D9CDE4DDF82}" dt="2022-01-19T09:01:16.006" v="116" actId="207"/>
          <ac:spMkLst>
            <pc:docMk/>
            <pc:sldMk cId="1703862666" sldId="407"/>
            <ac:spMk id="23" creationId="{1539C1E6-3BEA-4BA8-9314-EC33F4830FC1}"/>
          </ac:spMkLst>
        </pc:spChg>
        <pc:spChg chg="add del mod">
          <ac:chgData name="Ula Staigyte" userId="f6dd036f-ca91-4ba7-a32e-843cc9983a4c" providerId="ADAL" clId="{5131A641-90ED-4FE7-85C4-1D9CDE4DDF82}" dt="2022-01-19T08:58:03.435" v="101"/>
          <ac:spMkLst>
            <pc:docMk/>
            <pc:sldMk cId="1703862666" sldId="407"/>
            <ac:spMk id="24" creationId="{ED4DEA29-C161-4A6C-B17B-3D29C44819CB}"/>
          </ac:spMkLst>
        </pc:spChg>
        <pc:spChg chg="mod">
          <ac:chgData name="Ula Staigyte" userId="f6dd036f-ca91-4ba7-a32e-843cc9983a4c" providerId="ADAL" clId="{5131A641-90ED-4FE7-85C4-1D9CDE4DDF82}" dt="2022-01-19T08:58:24.056" v="102" actId="207"/>
          <ac:spMkLst>
            <pc:docMk/>
            <pc:sldMk cId="1703862666" sldId="407"/>
            <ac:spMk id="40" creationId="{7A4F7596-014D-4FEF-AF47-6E163A37FE3C}"/>
          </ac:spMkLst>
        </pc:spChg>
        <pc:spChg chg="ord">
          <ac:chgData name="Ula Staigyte" userId="f6dd036f-ca91-4ba7-a32e-843cc9983a4c" providerId="ADAL" clId="{5131A641-90ED-4FE7-85C4-1D9CDE4DDF82}" dt="2022-01-19T08:56:02.749" v="62" actId="167"/>
          <ac:spMkLst>
            <pc:docMk/>
            <pc:sldMk cId="1703862666" sldId="407"/>
            <ac:spMk id="42" creationId="{A9DE21E8-28C0-41CD-8F6B-AA3F5396D37D}"/>
          </ac:spMkLst>
        </pc:spChg>
        <pc:spChg chg="ord">
          <ac:chgData name="Ula Staigyte" userId="f6dd036f-ca91-4ba7-a32e-843cc9983a4c" providerId="ADAL" clId="{5131A641-90ED-4FE7-85C4-1D9CDE4DDF82}" dt="2022-01-19T08:56:34.420" v="72" actId="166"/>
          <ac:spMkLst>
            <pc:docMk/>
            <pc:sldMk cId="1703862666" sldId="407"/>
            <ac:spMk id="43" creationId="{8DAE5641-2686-4C2F-9D6C-1E4E8AA504D4}"/>
          </ac:spMkLst>
        </pc:spChg>
        <pc:spChg chg="mod">
          <ac:chgData name="Ula Staigyte" userId="f6dd036f-ca91-4ba7-a32e-843cc9983a4c" providerId="ADAL" clId="{5131A641-90ED-4FE7-85C4-1D9CDE4DDF82}" dt="2022-01-19T08:59:21.119" v="108" actId="207"/>
          <ac:spMkLst>
            <pc:docMk/>
            <pc:sldMk cId="1703862666" sldId="407"/>
            <ac:spMk id="44" creationId="{1CE5F035-5EF9-4C2B-A122-415CDBC76807}"/>
          </ac:spMkLst>
        </pc:spChg>
        <pc:spChg chg="del mod">
          <ac:chgData name="Ula Staigyte" userId="f6dd036f-ca91-4ba7-a32e-843cc9983a4c" providerId="ADAL" clId="{5131A641-90ED-4FE7-85C4-1D9CDE4DDF82}" dt="2022-01-19T08:58:54.604" v="105" actId="478"/>
          <ac:spMkLst>
            <pc:docMk/>
            <pc:sldMk cId="1703862666" sldId="407"/>
            <ac:spMk id="45" creationId="{AE31B9C5-5BCF-432C-91EB-B468128FEA41}"/>
          </ac:spMkLst>
        </pc:spChg>
        <pc:spChg chg="mod">
          <ac:chgData name="Ula Staigyte" userId="f6dd036f-ca91-4ba7-a32e-843cc9983a4c" providerId="ADAL" clId="{5131A641-90ED-4FE7-85C4-1D9CDE4DDF82}" dt="2022-01-19T08:59:15.764" v="107" actId="207"/>
          <ac:spMkLst>
            <pc:docMk/>
            <pc:sldMk cId="1703862666" sldId="407"/>
            <ac:spMk id="46" creationId="{DE391F14-887D-4301-865D-8FA664521DBC}"/>
          </ac:spMkLst>
        </pc:spChg>
        <pc:grpChg chg="mod">
          <ac:chgData name="Ula Staigyte" userId="f6dd036f-ca91-4ba7-a32e-843cc9983a4c" providerId="ADAL" clId="{5131A641-90ED-4FE7-85C4-1D9CDE4DDF82}" dt="2022-01-19T08:55:31.945" v="59" actId="1076"/>
          <ac:grpSpMkLst>
            <pc:docMk/>
            <pc:sldMk cId="1703862666" sldId="407"/>
            <ac:grpSpMk id="32" creationId="{FADC51F2-BE60-478A-BC01-4D0B32C08E41}"/>
          </ac:grpSpMkLst>
        </pc:grpChg>
      </pc:sldChg>
      <pc:sldChg chg="new del">
        <pc:chgData name="Ula Staigyte" userId="f6dd036f-ca91-4ba7-a32e-843cc9983a4c" providerId="ADAL" clId="{5131A641-90ED-4FE7-85C4-1D9CDE4DDF82}" dt="2022-01-19T09:02:25.815" v="121" actId="47"/>
        <pc:sldMkLst>
          <pc:docMk/>
          <pc:sldMk cId="3621695849" sldId="408"/>
        </pc:sldMkLst>
      </pc:sldChg>
      <pc:sldChg chg="addSp delSp modSp add mod">
        <pc:chgData name="Ula Staigyte" userId="f6dd036f-ca91-4ba7-a32e-843cc9983a4c" providerId="ADAL" clId="{5131A641-90ED-4FE7-85C4-1D9CDE4DDF82}" dt="2022-01-19T09:04:49.111" v="140" actId="20577"/>
        <pc:sldMkLst>
          <pc:docMk/>
          <pc:sldMk cId="3899946674" sldId="409"/>
        </pc:sldMkLst>
        <pc:spChg chg="mod">
          <ac:chgData name="Ula Staigyte" userId="f6dd036f-ca91-4ba7-a32e-843cc9983a4c" providerId="ADAL" clId="{5131A641-90ED-4FE7-85C4-1D9CDE4DDF82}" dt="2022-01-19T09:04:49.111" v="140" actId="20577"/>
          <ac:spMkLst>
            <pc:docMk/>
            <pc:sldMk cId="3899946674" sldId="409"/>
            <ac:spMk id="21" creationId="{2918A5D4-8E98-4D89-9DE8-DDC6093F2BA6}"/>
          </ac:spMkLst>
        </pc:spChg>
        <pc:spChg chg="del">
          <ac:chgData name="Ula Staigyte" userId="f6dd036f-ca91-4ba7-a32e-843cc9983a4c" providerId="ADAL" clId="{5131A641-90ED-4FE7-85C4-1D9CDE4DDF82}" dt="2022-01-19T09:03:36.638" v="130" actId="478"/>
          <ac:spMkLst>
            <pc:docMk/>
            <pc:sldMk cId="3899946674" sldId="409"/>
            <ac:spMk id="22" creationId="{C6F4B485-6139-4684-9C2D-14454CB192B4}"/>
          </ac:spMkLst>
        </pc:spChg>
        <pc:spChg chg="del mod">
          <ac:chgData name="Ula Staigyte" userId="f6dd036f-ca91-4ba7-a32e-843cc9983a4c" providerId="ADAL" clId="{5131A641-90ED-4FE7-85C4-1D9CDE4DDF82}" dt="2022-01-19T09:04:37.346" v="138" actId="478"/>
          <ac:spMkLst>
            <pc:docMk/>
            <pc:sldMk cId="3899946674" sldId="409"/>
            <ac:spMk id="23" creationId="{1539C1E6-3BEA-4BA8-9314-EC33F4830FC1}"/>
          </ac:spMkLst>
        </pc:spChg>
        <pc:spChg chg="add mod">
          <ac:chgData name="Ula Staigyte" userId="f6dd036f-ca91-4ba7-a32e-843cc9983a4c" providerId="ADAL" clId="{5131A641-90ED-4FE7-85C4-1D9CDE4DDF82}" dt="2022-01-19T09:02:47.945" v="123" actId="1076"/>
          <ac:spMkLst>
            <pc:docMk/>
            <pc:sldMk cId="3899946674" sldId="409"/>
            <ac:spMk id="24" creationId="{FDF17BCC-962E-4783-B2A1-DD3DBEE6D313}"/>
          </ac:spMkLst>
        </pc:spChg>
        <pc:spChg chg="add mod">
          <ac:chgData name="Ula Staigyte" userId="f6dd036f-ca91-4ba7-a32e-843cc9983a4c" providerId="ADAL" clId="{5131A641-90ED-4FE7-85C4-1D9CDE4DDF82}" dt="2022-01-19T09:03:30.314" v="129" actId="1076"/>
          <ac:spMkLst>
            <pc:docMk/>
            <pc:sldMk cId="3899946674" sldId="409"/>
            <ac:spMk id="25" creationId="{192C126F-F51C-4D08-849F-A0CCAC8C3F2B}"/>
          </ac:spMkLst>
        </pc:spChg>
        <pc:spChg chg="mod">
          <ac:chgData name="Ula Staigyte" userId="f6dd036f-ca91-4ba7-a32e-843cc9983a4c" providerId="ADAL" clId="{5131A641-90ED-4FE7-85C4-1D9CDE4DDF82}" dt="2022-01-19T09:03:08.255" v="125" actId="207"/>
          <ac:spMkLst>
            <pc:docMk/>
            <pc:sldMk cId="3899946674" sldId="409"/>
            <ac:spMk id="40" creationId="{7A4F7596-014D-4FEF-AF47-6E163A37FE3C}"/>
          </ac:spMkLst>
        </pc:spChg>
      </pc:sldChg>
      <pc:sldChg chg="addSp modSp add mod ord">
        <pc:chgData name="Ula Staigyte" userId="f6dd036f-ca91-4ba7-a32e-843cc9983a4c" providerId="ADAL" clId="{5131A641-90ED-4FE7-85C4-1D9CDE4DDF82}" dt="2022-01-19T09:08:21.844" v="160" actId="207"/>
        <pc:sldMkLst>
          <pc:docMk/>
          <pc:sldMk cId="1357591157" sldId="410"/>
        </pc:sldMkLst>
        <pc:spChg chg="add mod">
          <ac:chgData name="Ula Staigyte" userId="f6dd036f-ca91-4ba7-a32e-843cc9983a4c" providerId="ADAL" clId="{5131A641-90ED-4FE7-85C4-1D9CDE4DDF82}" dt="2022-01-19T09:07:41.943" v="155" actId="20577"/>
          <ac:spMkLst>
            <pc:docMk/>
            <pc:sldMk cId="1357591157" sldId="410"/>
            <ac:spMk id="22" creationId="{9E23257D-250B-41D4-99A2-DBB08F139568}"/>
          </ac:spMkLst>
        </pc:spChg>
        <pc:spChg chg="mod">
          <ac:chgData name="Ula Staigyte" userId="f6dd036f-ca91-4ba7-a32e-843cc9983a4c" providerId="ADAL" clId="{5131A641-90ED-4FE7-85C4-1D9CDE4DDF82}" dt="2022-01-19T09:07:27.987" v="151" actId="1076"/>
          <ac:spMkLst>
            <pc:docMk/>
            <pc:sldMk cId="1357591157" sldId="410"/>
            <ac:spMk id="24" creationId="{FDF17BCC-962E-4783-B2A1-DD3DBEE6D313}"/>
          </ac:spMkLst>
        </pc:spChg>
        <pc:spChg chg="mod">
          <ac:chgData name="Ula Staigyte" userId="f6dd036f-ca91-4ba7-a32e-843cc9983a4c" providerId="ADAL" clId="{5131A641-90ED-4FE7-85C4-1D9CDE4DDF82}" dt="2022-01-19T09:08:21.844" v="160" actId="207"/>
          <ac:spMkLst>
            <pc:docMk/>
            <pc:sldMk cId="1357591157" sldId="410"/>
            <ac:spMk id="25" creationId="{192C126F-F51C-4D08-849F-A0CCAC8C3F2B}"/>
          </ac:spMkLst>
        </pc:spChg>
        <pc:spChg chg="mod">
          <ac:chgData name="Ula Staigyte" userId="f6dd036f-ca91-4ba7-a32e-843cc9983a4c" providerId="ADAL" clId="{5131A641-90ED-4FE7-85C4-1D9CDE4DDF82}" dt="2022-01-19T09:08:10.542" v="158" actId="207"/>
          <ac:spMkLst>
            <pc:docMk/>
            <pc:sldMk cId="1357591157" sldId="410"/>
            <ac:spMk id="40" creationId="{7A4F7596-014D-4FEF-AF47-6E163A37FE3C}"/>
          </ac:spMkLst>
        </pc:spChg>
        <pc:spChg chg="mod">
          <ac:chgData name="Ula Staigyte" userId="f6dd036f-ca91-4ba7-a32e-843cc9983a4c" providerId="ADAL" clId="{5131A641-90ED-4FE7-85C4-1D9CDE4DDF82}" dt="2022-01-19T09:07:56.667" v="156" actId="207"/>
          <ac:spMkLst>
            <pc:docMk/>
            <pc:sldMk cId="1357591157" sldId="410"/>
            <ac:spMk id="44" creationId="{1CE5F035-5EF9-4C2B-A122-415CDBC76807}"/>
          </ac:spMkLst>
        </pc:spChg>
        <pc:spChg chg="mod">
          <ac:chgData name="Ula Staigyte" userId="f6dd036f-ca91-4ba7-a32e-843cc9983a4c" providerId="ADAL" clId="{5131A641-90ED-4FE7-85C4-1D9CDE4DDF82}" dt="2022-01-19T09:06:53.292" v="146" actId="207"/>
          <ac:spMkLst>
            <pc:docMk/>
            <pc:sldMk cId="1357591157" sldId="410"/>
            <ac:spMk id="47" creationId="{2A830FF9-5090-4B04-8449-AD8528C0503B}"/>
          </ac:spMkLst>
        </pc:spChg>
        <pc:spChg chg="ord">
          <ac:chgData name="Ula Staigyte" userId="f6dd036f-ca91-4ba7-a32e-843cc9983a4c" providerId="ADAL" clId="{5131A641-90ED-4FE7-85C4-1D9CDE4DDF82}" dt="2022-01-19T09:07:09.945" v="150" actId="166"/>
          <ac:spMkLst>
            <pc:docMk/>
            <pc:sldMk cId="1357591157" sldId="410"/>
            <ac:spMk id="48" creationId="{49330149-D5AB-4AEC-BAA9-502770030AE3}"/>
          </ac:spMkLst>
        </pc:spChg>
      </pc:sldChg>
    </pc:docChg>
  </pc:docChgLst>
  <pc:docChgLst>
    <pc:chgData name="Ula Staigyte" userId="f6dd036f-ca91-4ba7-a32e-843cc9983a4c" providerId="ADAL" clId="{025139B8-0A69-4A45-9B3D-4ADF647C2763}"/>
    <pc:docChg chg="undo custSel addSld delSld modSld sldOrd">
      <pc:chgData name="Ula Staigyte" userId="f6dd036f-ca91-4ba7-a32e-843cc9983a4c" providerId="ADAL" clId="{025139B8-0A69-4A45-9B3D-4ADF647C2763}" dt="2022-02-08T19:41:27.156" v="18325"/>
      <pc:docMkLst>
        <pc:docMk/>
      </pc:docMkLst>
      <pc:sldChg chg="addSp delSp modSp add mod addCm delCm modCm">
        <pc:chgData name="Ula Staigyte" userId="f6dd036f-ca91-4ba7-a32e-843cc9983a4c" providerId="ADAL" clId="{025139B8-0A69-4A45-9B3D-4ADF647C2763}" dt="2022-02-08T17:31:22.477" v="17844" actId="14100"/>
        <pc:sldMkLst>
          <pc:docMk/>
          <pc:sldMk cId="2900552097" sldId="303"/>
        </pc:sldMkLst>
        <pc:spChg chg="mod">
          <ac:chgData name="Ula Staigyte" userId="f6dd036f-ca91-4ba7-a32e-843cc9983a4c" providerId="ADAL" clId="{025139B8-0A69-4A45-9B3D-4ADF647C2763}" dt="2022-01-19T09:25:35.848" v="92" actId="20577"/>
          <ac:spMkLst>
            <pc:docMk/>
            <pc:sldMk cId="2900552097" sldId="303"/>
            <ac:spMk id="4" creationId="{00000000-0000-0000-0000-000000000000}"/>
          </ac:spMkLst>
        </pc:spChg>
        <pc:spChg chg="mod">
          <ac:chgData name="Ula Staigyte" userId="f6dd036f-ca91-4ba7-a32e-843cc9983a4c" providerId="ADAL" clId="{025139B8-0A69-4A45-9B3D-4ADF647C2763}" dt="2022-02-08T17:31:17.035" v="17843" actId="1076"/>
          <ac:spMkLst>
            <pc:docMk/>
            <pc:sldMk cId="2900552097" sldId="303"/>
            <ac:spMk id="13" creationId="{00000000-0000-0000-0000-000000000000}"/>
          </ac:spMkLst>
        </pc:spChg>
        <pc:spChg chg="del">
          <ac:chgData name="Ula Staigyte" userId="f6dd036f-ca91-4ba7-a32e-843cc9983a4c" providerId="ADAL" clId="{025139B8-0A69-4A45-9B3D-4ADF647C2763}" dt="2022-01-19T09:25:49.231" v="95" actId="478"/>
          <ac:spMkLst>
            <pc:docMk/>
            <pc:sldMk cId="2900552097" sldId="303"/>
            <ac:spMk id="14" creationId="{00000000-0000-0000-0000-000000000000}"/>
          </ac:spMkLst>
        </pc:spChg>
        <pc:spChg chg="mod">
          <ac:chgData name="Ula Staigyte" userId="f6dd036f-ca91-4ba7-a32e-843cc9983a4c" providerId="ADAL" clId="{025139B8-0A69-4A45-9B3D-4ADF647C2763}" dt="2022-01-24T13:04:17.451" v="1925" actId="1076"/>
          <ac:spMkLst>
            <pc:docMk/>
            <pc:sldMk cId="2900552097" sldId="303"/>
            <ac:spMk id="15" creationId="{00000000-0000-0000-0000-000000000000}"/>
          </ac:spMkLst>
        </pc:spChg>
        <pc:spChg chg="mod">
          <ac:chgData name="Ula Staigyte" userId="f6dd036f-ca91-4ba7-a32e-843cc9983a4c" providerId="ADAL" clId="{025139B8-0A69-4A45-9B3D-4ADF647C2763}" dt="2022-01-24T13:04:13.406" v="1924" actId="1076"/>
          <ac:spMkLst>
            <pc:docMk/>
            <pc:sldMk cId="2900552097" sldId="303"/>
            <ac:spMk id="16" creationId="{00000000-0000-0000-0000-000000000000}"/>
          </ac:spMkLst>
        </pc:spChg>
        <pc:spChg chg="mod">
          <ac:chgData name="Ula Staigyte" userId="f6dd036f-ca91-4ba7-a32e-843cc9983a4c" providerId="ADAL" clId="{025139B8-0A69-4A45-9B3D-4ADF647C2763}" dt="2022-02-08T17:31:22.477" v="17844" actId="14100"/>
          <ac:spMkLst>
            <pc:docMk/>
            <pc:sldMk cId="2900552097" sldId="303"/>
            <ac:spMk id="17" creationId="{00000000-0000-0000-0000-000000000000}"/>
          </ac:spMkLst>
        </pc:spChg>
        <pc:spChg chg="del">
          <ac:chgData name="Ula Staigyte" userId="f6dd036f-ca91-4ba7-a32e-843cc9983a4c" providerId="ADAL" clId="{025139B8-0A69-4A45-9B3D-4ADF647C2763}" dt="2022-01-19T09:22:44.720" v="38" actId="478"/>
          <ac:spMkLst>
            <pc:docMk/>
            <pc:sldMk cId="2900552097" sldId="303"/>
            <ac:spMk id="19" creationId="{00000000-0000-0000-0000-000000000000}"/>
          </ac:spMkLst>
        </pc:spChg>
        <pc:spChg chg="del mod">
          <ac:chgData name="Ula Staigyte" userId="f6dd036f-ca91-4ba7-a32e-843cc9983a4c" providerId="ADAL" clId="{025139B8-0A69-4A45-9B3D-4ADF647C2763}" dt="2022-01-19T09:22:47.884" v="40" actId="478"/>
          <ac:spMkLst>
            <pc:docMk/>
            <pc:sldMk cId="2900552097" sldId="303"/>
            <ac:spMk id="20" creationId="{00000000-0000-0000-0000-000000000000}"/>
          </ac:spMkLst>
        </pc:spChg>
        <pc:spChg chg="del">
          <ac:chgData name="Ula Staigyte" userId="f6dd036f-ca91-4ba7-a32e-843cc9983a4c" providerId="ADAL" clId="{025139B8-0A69-4A45-9B3D-4ADF647C2763}" dt="2022-01-19T09:22:51.541" v="41" actId="478"/>
          <ac:spMkLst>
            <pc:docMk/>
            <pc:sldMk cId="2900552097" sldId="303"/>
            <ac:spMk id="21" creationId="{00000000-0000-0000-0000-000000000000}"/>
          </ac:spMkLst>
        </pc:spChg>
        <pc:spChg chg="del">
          <ac:chgData name="Ula Staigyte" userId="f6dd036f-ca91-4ba7-a32e-843cc9983a4c" providerId="ADAL" clId="{025139B8-0A69-4A45-9B3D-4ADF647C2763}" dt="2022-01-19T09:22:41.598" v="36" actId="478"/>
          <ac:spMkLst>
            <pc:docMk/>
            <pc:sldMk cId="2900552097" sldId="303"/>
            <ac:spMk id="22" creationId="{00000000-0000-0000-0000-000000000000}"/>
          </ac:spMkLst>
        </pc:spChg>
        <pc:spChg chg="del">
          <ac:chgData name="Ula Staigyte" userId="f6dd036f-ca91-4ba7-a32e-843cc9983a4c" providerId="ADAL" clId="{025139B8-0A69-4A45-9B3D-4ADF647C2763}" dt="2022-01-19T09:22:39.028" v="35" actId="478"/>
          <ac:spMkLst>
            <pc:docMk/>
            <pc:sldMk cId="2900552097" sldId="303"/>
            <ac:spMk id="24" creationId="{00000000-0000-0000-0000-000000000000}"/>
          </ac:spMkLst>
        </pc:spChg>
        <pc:spChg chg="del mod">
          <ac:chgData name="Ula Staigyte" userId="f6dd036f-ca91-4ba7-a32e-843cc9983a4c" providerId="ADAL" clId="{025139B8-0A69-4A45-9B3D-4ADF647C2763}" dt="2022-01-19T09:22:36.219" v="34" actId="478"/>
          <ac:spMkLst>
            <pc:docMk/>
            <pc:sldMk cId="2900552097" sldId="303"/>
            <ac:spMk id="25" creationId="{00000000-0000-0000-0000-000000000000}"/>
          </ac:spMkLst>
        </pc:spChg>
        <pc:spChg chg="del">
          <ac:chgData name="Ula Staigyte" userId="f6dd036f-ca91-4ba7-a32e-843cc9983a4c" providerId="ADAL" clId="{025139B8-0A69-4A45-9B3D-4ADF647C2763}" dt="2022-01-19T09:22:42.929" v="37" actId="478"/>
          <ac:spMkLst>
            <pc:docMk/>
            <pc:sldMk cId="2900552097" sldId="303"/>
            <ac:spMk id="26" creationId="{00000000-0000-0000-0000-000000000000}"/>
          </ac:spMkLst>
        </pc:spChg>
        <pc:picChg chg="add mod ord modCrop">
          <ac:chgData name="Ula Staigyte" userId="f6dd036f-ca91-4ba7-a32e-843cc9983a4c" providerId="ADAL" clId="{025139B8-0A69-4A45-9B3D-4ADF647C2763}" dt="2022-01-19T09:24:31.939" v="74" actId="1076"/>
          <ac:picMkLst>
            <pc:docMk/>
            <pc:sldMk cId="2900552097" sldId="303"/>
            <ac:picMk id="5" creationId="{45F0994B-CAB1-45F9-9A54-4CFE9B983A48}"/>
          </ac:picMkLst>
        </pc:picChg>
        <pc:picChg chg="add mod ord modCrop">
          <ac:chgData name="Ula Staigyte" userId="f6dd036f-ca91-4ba7-a32e-843cc9983a4c" providerId="ADAL" clId="{025139B8-0A69-4A45-9B3D-4ADF647C2763}" dt="2022-01-19T09:25:44.582" v="93" actId="1076"/>
          <ac:picMkLst>
            <pc:docMk/>
            <pc:sldMk cId="2900552097" sldId="303"/>
            <ac:picMk id="6" creationId="{54688994-C02F-49AC-BE7F-5841A8C73716}"/>
          </ac:picMkLst>
        </pc:picChg>
        <pc:picChg chg="add mod ord">
          <ac:chgData name="Ula Staigyte" userId="f6dd036f-ca91-4ba7-a32e-843cc9983a4c" providerId="ADAL" clId="{025139B8-0A69-4A45-9B3D-4ADF647C2763}" dt="2022-01-19T09:22:57.458" v="42" actId="167"/>
          <ac:picMkLst>
            <pc:docMk/>
            <pc:sldMk cId="2900552097" sldId="303"/>
            <ac:picMk id="23" creationId="{94F795DF-97F9-4F7A-8DC1-6302925297E0}"/>
          </ac:picMkLst>
        </pc:picChg>
        <pc:picChg chg="del">
          <ac:chgData name="Ula Staigyte" userId="f6dd036f-ca91-4ba7-a32e-843cc9983a4c" providerId="ADAL" clId="{025139B8-0A69-4A45-9B3D-4ADF647C2763}" dt="2022-01-19T09:24:58.347" v="75" actId="478"/>
          <ac:picMkLst>
            <pc:docMk/>
            <pc:sldMk cId="2900552097" sldId="303"/>
            <ac:picMk id="1028" creationId="{00000000-0000-0000-0000-000000000000}"/>
          </ac:picMkLst>
        </pc:picChg>
        <pc:picChg chg="mod">
          <ac:chgData name="Ula Staigyte" userId="f6dd036f-ca91-4ba7-a32e-843cc9983a4c" providerId="ADAL" clId="{025139B8-0A69-4A45-9B3D-4ADF647C2763}" dt="2022-02-08T17:31:09.486" v="17842" actId="14100"/>
          <ac:picMkLst>
            <pc:docMk/>
            <pc:sldMk cId="2900552097" sldId="303"/>
            <ac:picMk id="1033" creationId="{00000000-0000-0000-0000-000000000000}"/>
          </ac:picMkLst>
        </pc:picChg>
        <pc:picChg chg="del">
          <ac:chgData name="Ula Staigyte" userId="f6dd036f-ca91-4ba7-a32e-843cc9983a4c" providerId="ADAL" clId="{025139B8-0A69-4A45-9B3D-4ADF647C2763}" dt="2022-01-19T09:25:47.251" v="94" actId="478"/>
          <ac:picMkLst>
            <pc:docMk/>
            <pc:sldMk cId="2900552097" sldId="303"/>
            <ac:picMk id="1034" creationId="{00000000-0000-0000-0000-000000000000}"/>
          </ac:picMkLst>
        </pc:picChg>
        <pc:picChg chg="del">
          <ac:chgData name="Ula Staigyte" userId="f6dd036f-ca91-4ba7-a32e-843cc9983a4c" providerId="ADAL" clId="{025139B8-0A69-4A45-9B3D-4ADF647C2763}" dt="2022-01-19T09:23:51.432" v="56" actId="478"/>
          <ac:picMkLst>
            <pc:docMk/>
            <pc:sldMk cId="2900552097" sldId="303"/>
            <ac:picMk id="1035" creationId="{00000000-0000-0000-0000-000000000000}"/>
          </ac:picMkLst>
        </pc:picChg>
        <pc:picChg chg="del">
          <ac:chgData name="Ula Staigyte" userId="f6dd036f-ca91-4ba7-a32e-843cc9983a4c" providerId="ADAL" clId="{025139B8-0A69-4A45-9B3D-4ADF647C2763}" dt="2022-01-19T09:22:30.926" v="32" actId="478"/>
          <ac:picMkLst>
            <pc:docMk/>
            <pc:sldMk cId="2900552097" sldId="303"/>
            <ac:picMk id="1037" creationId="{00000000-0000-0000-0000-000000000000}"/>
          </ac:picMkLst>
        </pc:picChg>
      </pc:sldChg>
      <pc:sldChg chg="modSp mod">
        <pc:chgData name="Ula Staigyte" userId="f6dd036f-ca91-4ba7-a32e-843cc9983a4c" providerId="ADAL" clId="{025139B8-0A69-4A45-9B3D-4ADF647C2763}" dt="2022-02-08T17:12:10.139" v="17524" actId="13926"/>
        <pc:sldMkLst>
          <pc:docMk/>
          <pc:sldMk cId="2381843795" sldId="362"/>
        </pc:sldMkLst>
        <pc:spChg chg="mod">
          <ac:chgData name="Ula Staigyte" userId="f6dd036f-ca91-4ba7-a32e-843cc9983a4c" providerId="ADAL" clId="{025139B8-0A69-4A45-9B3D-4ADF647C2763}" dt="2022-02-08T17:12:10.139" v="17524" actId="13926"/>
          <ac:spMkLst>
            <pc:docMk/>
            <pc:sldMk cId="2381843795" sldId="362"/>
            <ac:spMk id="4" creationId="{00000000-0000-0000-0000-000000000000}"/>
          </ac:spMkLst>
        </pc:spChg>
      </pc:sldChg>
      <pc:sldChg chg="delCm">
        <pc:chgData name="Ula Staigyte" userId="f6dd036f-ca91-4ba7-a32e-843cc9983a4c" providerId="ADAL" clId="{025139B8-0A69-4A45-9B3D-4ADF647C2763}" dt="2022-01-31T14:39:14.512" v="7273"/>
        <pc:sldMkLst>
          <pc:docMk/>
          <pc:sldMk cId="2969992210" sldId="365"/>
        </pc:sldMkLst>
      </pc:sldChg>
      <pc:sldChg chg="delCm">
        <pc:chgData name="Ula Staigyte" userId="f6dd036f-ca91-4ba7-a32e-843cc9983a4c" providerId="ADAL" clId="{025139B8-0A69-4A45-9B3D-4ADF647C2763}" dt="2022-02-01T14:21:24.781" v="11381"/>
        <pc:sldMkLst>
          <pc:docMk/>
          <pc:sldMk cId="485910152" sldId="367"/>
        </pc:sldMkLst>
      </pc:sldChg>
      <pc:sldChg chg="del">
        <pc:chgData name="Ula Staigyte" userId="f6dd036f-ca91-4ba7-a32e-843cc9983a4c" providerId="ADAL" clId="{025139B8-0A69-4A45-9B3D-4ADF647C2763}" dt="2022-01-19T09:09:35.203" v="0" actId="47"/>
        <pc:sldMkLst>
          <pc:docMk/>
          <pc:sldMk cId="2022451879" sldId="373"/>
        </pc:sldMkLst>
      </pc:sldChg>
      <pc:sldChg chg="del">
        <pc:chgData name="Ula Staigyte" userId="f6dd036f-ca91-4ba7-a32e-843cc9983a4c" providerId="ADAL" clId="{025139B8-0A69-4A45-9B3D-4ADF647C2763}" dt="2022-01-19T09:09:37.256" v="1" actId="47"/>
        <pc:sldMkLst>
          <pc:docMk/>
          <pc:sldMk cId="3105449073" sldId="376"/>
        </pc:sldMkLst>
      </pc:sldChg>
      <pc:sldChg chg="delSp modSp mod ord addCm delCm modCm">
        <pc:chgData name="Ula Staigyte" userId="f6dd036f-ca91-4ba7-a32e-843cc9983a4c" providerId="ADAL" clId="{025139B8-0A69-4A45-9B3D-4ADF647C2763}" dt="2022-02-08T18:14:16.280" v="18085"/>
        <pc:sldMkLst>
          <pc:docMk/>
          <pc:sldMk cId="1027685287" sldId="377"/>
        </pc:sldMkLst>
        <pc:spChg chg="mod">
          <ac:chgData name="Ula Staigyte" userId="f6dd036f-ca91-4ba7-a32e-843cc9983a4c" providerId="ADAL" clId="{025139B8-0A69-4A45-9B3D-4ADF647C2763}" dt="2022-02-01T12:53:03.937" v="9939" actId="1076"/>
          <ac:spMkLst>
            <pc:docMk/>
            <pc:sldMk cId="1027685287" sldId="377"/>
            <ac:spMk id="2" creationId="{2ED4ECBB-2BBD-4A4B-A32D-54B46AD654F9}"/>
          </ac:spMkLst>
        </pc:spChg>
        <pc:spChg chg="del">
          <ac:chgData name="Ula Staigyte" userId="f6dd036f-ca91-4ba7-a32e-843cc9983a4c" providerId="ADAL" clId="{025139B8-0A69-4A45-9B3D-4ADF647C2763}" dt="2022-01-31T15:02:35.373" v="7351" actId="478"/>
          <ac:spMkLst>
            <pc:docMk/>
            <pc:sldMk cId="1027685287" sldId="377"/>
            <ac:spMk id="14" creationId="{6CC0C3BA-5F75-447E-BF64-69F62BE5165A}"/>
          </ac:spMkLst>
        </pc:spChg>
        <pc:spChg chg="del">
          <ac:chgData name="Ula Staigyte" userId="f6dd036f-ca91-4ba7-a32e-843cc9983a4c" providerId="ADAL" clId="{025139B8-0A69-4A45-9B3D-4ADF647C2763}" dt="2022-01-31T15:02:36.916" v="7352" actId="478"/>
          <ac:spMkLst>
            <pc:docMk/>
            <pc:sldMk cId="1027685287" sldId="377"/>
            <ac:spMk id="15" creationId="{279693C3-8D2A-48CE-AAE9-C3DF4604184C}"/>
          </ac:spMkLst>
        </pc:spChg>
        <pc:graphicFrameChg chg="mod modGraphic">
          <ac:chgData name="Ula Staigyte" userId="f6dd036f-ca91-4ba7-a32e-843cc9983a4c" providerId="ADAL" clId="{025139B8-0A69-4A45-9B3D-4ADF647C2763}" dt="2022-02-01T12:52:58.231" v="9938" actId="1076"/>
          <ac:graphicFrameMkLst>
            <pc:docMk/>
            <pc:sldMk cId="1027685287" sldId="377"/>
            <ac:graphicFrameMk id="3" creationId="{B4DC0941-E7A6-4449-BA2B-4E796BBF002C}"/>
          </ac:graphicFrameMkLst>
        </pc:graphicFrameChg>
      </pc:sldChg>
      <pc:sldChg chg="del">
        <pc:chgData name="Ula Staigyte" userId="f6dd036f-ca91-4ba7-a32e-843cc9983a4c" providerId="ADAL" clId="{025139B8-0A69-4A45-9B3D-4ADF647C2763}" dt="2022-01-19T09:09:46.692" v="2" actId="47"/>
        <pc:sldMkLst>
          <pc:docMk/>
          <pc:sldMk cId="659986725" sldId="378"/>
        </pc:sldMkLst>
      </pc:sldChg>
      <pc:sldChg chg="del">
        <pc:chgData name="Ula Staigyte" userId="f6dd036f-ca91-4ba7-a32e-843cc9983a4c" providerId="ADAL" clId="{025139B8-0A69-4A45-9B3D-4ADF647C2763}" dt="2022-01-19T09:09:51.672" v="4" actId="47"/>
        <pc:sldMkLst>
          <pc:docMk/>
          <pc:sldMk cId="3719474151" sldId="379"/>
        </pc:sldMkLst>
      </pc:sldChg>
      <pc:sldChg chg="del">
        <pc:chgData name="Ula Staigyte" userId="f6dd036f-ca91-4ba7-a32e-843cc9983a4c" providerId="ADAL" clId="{025139B8-0A69-4A45-9B3D-4ADF647C2763}" dt="2022-01-19T09:10:05.371" v="8" actId="47"/>
        <pc:sldMkLst>
          <pc:docMk/>
          <pc:sldMk cId="1195973792" sldId="380"/>
        </pc:sldMkLst>
      </pc:sldChg>
      <pc:sldChg chg="del">
        <pc:chgData name="Ula Staigyte" userId="f6dd036f-ca91-4ba7-a32e-843cc9983a4c" providerId="ADAL" clId="{025139B8-0A69-4A45-9B3D-4ADF647C2763}" dt="2022-01-19T09:10:03.174" v="7" actId="47"/>
        <pc:sldMkLst>
          <pc:docMk/>
          <pc:sldMk cId="2073411596" sldId="381"/>
        </pc:sldMkLst>
      </pc:sldChg>
      <pc:sldChg chg="del">
        <pc:chgData name="Ula Staigyte" userId="f6dd036f-ca91-4ba7-a32e-843cc9983a4c" providerId="ADAL" clId="{025139B8-0A69-4A45-9B3D-4ADF647C2763}" dt="2022-01-19T09:10:43.310" v="25" actId="47"/>
        <pc:sldMkLst>
          <pc:docMk/>
          <pc:sldMk cId="2904332077" sldId="382"/>
        </pc:sldMkLst>
      </pc:sldChg>
      <pc:sldChg chg="del">
        <pc:chgData name="Ula Staigyte" userId="f6dd036f-ca91-4ba7-a32e-843cc9983a4c" providerId="ADAL" clId="{025139B8-0A69-4A45-9B3D-4ADF647C2763}" dt="2022-01-19T09:10:36.450" v="16" actId="47"/>
        <pc:sldMkLst>
          <pc:docMk/>
          <pc:sldMk cId="699167172" sldId="383"/>
        </pc:sldMkLst>
      </pc:sldChg>
      <pc:sldChg chg="del">
        <pc:chgData name="Ula Staigyte" userId="f6dd036f-ca91-4ba7-a32e-843cc9983a4c" providerId="ADAL" clId="{025139B8-0A69-4A45-9B3D-4ADF647C2763}" dt="2022-01-19T09:10:39.700" v="21" actId="47"/>
        <pc:sldMkLst>
          <pc:docMk/>
          <pc:sldMk cId="2204350563" sldId="384"/>
        </pc:sldMkLst>
      </pc:sldChg>
      <pc:sldChg chg="del">
        <pc:chgData name="Ula Staigyte" userId="f6dd036f-ca91-4ba7-a32e-843cc9983a4c" providerId="ADAL" clId="{025139B8-0A69-4A45-9B3D-4ADF647C2763}" dt="2022-01-19T09:10:45.071" v="27" actId="47"/>
        <pc:sldMkLst>
          <pc:docMk/>
          <pc:sldMk cId="448522972" sldId="385"/>
        </pc:sldMkLst>
      </pc:sldChg>
      <pc:sldChg chg="del">
        <pc:chgData name="Ula Staigyte" userId="f6dd036f-ca91-4ba7-a32e-843cc9983a4c" providerId="ADAL" clId="{025139B8-0A69-4A45-9B3D-4ADF647C2763}" dt="2022-01-19T09:10:30.208" v="9" actId="47"/>
        <pc:sldMkLst>
          <pc:docMk/>
          <pc:sldMk cId="2058168668" sldId="386"/>
        </pc:sldMkLst>
      </pc:sldChg>
      <pc:sldChg chg="del">
        <pc:chgData name="Ula Staigyte" userId="f6dd036f-ca91-4ba7-a32e-843cc9983a4c" providerId="ADAL" clId="{025139B8-0A69-4A45-9B3D-4ADF647C2763}" dt="2022-01-19T09:10:34.368" v="13" actId="47"/>
        <pc:sldMkLst>
          <pc:docMk/>
          <pc:sldMk cId="2826722042" sldId="387"/>
        </pc:sldMkLst>
      </pc:sldChg>
      <pc:sldChg chg="del">
        <pc:chgData name="Ula Staigyte" userId="f6dd036f-ca91-4ba7-a32e-843cc9983a4c" providerId="ADAL" clId="{025139B8-0A69-4A45-9B3D-4ADF647C2763}" dt="2022-01-19T09:10:35.926" v="15" actId="47"/>
        <pc:sldMkLst>
          <pc:docMk/>
          <pc:sldMk cId="662417198" sldId="388"/>
        </pc:sldMkLst>
      </pc:sldChg>
      <pc:sldChg chg="del">
        <pc:chgData name="Ula Staigyte" userId="f6dd036f-ca91-4ba7-a32e-843cc9983a4c" providerId="ADAL" clId="{025139B8-0A69-4A45-9B3D-4ADF647C2763}" dt="2022-01-19T09:10:37.870" v="18" actId="47"/>
        <pc:sldMkLst>
          <pc:docMk/>
          <pc:sldMk cId="3002360698" sldId="389"/>
        </pc:sldMkLst>
      </pc:sldChg>
      <pc:sldChg chg="del">
        <pc:chgData name="Ula Staigyte" userId="f6dd036f-ca91-4ba7-a32e-843cc9983a4c" providerId="ADAL" clId="{025139B8-0A69-4A45-9B3D-4ADF647C2763}" dt="2022-01-19T09:10:39.146" v="20" actId="47"/>
        <pc:sldMkLst>
          <pc:docMk/>
          <pc:sldMk cId="3027127790" sldId="390"/>
        </pc:sldMkLst>
      </pc:sldChg>
      <pc:sldChg chg="del">
        <pc:chgData name="Ula Staigyte" userId="f6dd036f-ca91-4ba7-a32e-843cc9983a4c" providerId="ADAL" clId="{025139B8-0A69-4A45-9B3D-4ADF647C2763}" dt="2022-01-19T09:10:41.031" v="23" actId="47"/>
        <pc:sldMkLst>
          <pc:docMk/>
          <pc:sldMk cId="2239161331" sldId="391"/>
        </pc:sldMkLst>
      </pc:sldChg>
      <pc:sldChg chg="del">
        <pc:chgData name="Ula Staigyte" userId="f6dd036f-ca91-4ba7-a32e-843cc9983a4c" providerId="ADAL" clId="{025139B8-0A69-4A45-9B3D-4ADF647C2763}" dt="2022-01-19T09:09:53.389" v="5" actId="47"/>
        <pc:sldMkLst>
          <pc:docMk/>
          <pc:sldMk cId="1543301661" sldId="392"/>
        </pc:sldMkLst>
      </pc:sldChg>
      <pc:sldChg chg="del">
        <pc:chgData name="Ula Staigyte" userId="f6dd036f-ca91-4ba7-a32e-843cc9983a4c" providerId="ADAL" clId="{025139B8-0A69-4A45-9B3D-4ADF647C2763}" dt="2022-01-19T09:09:50.065" v="3" actId="47"/>
        <pc:sldMkLst>
          <pc:docMk/>
          <pc:sldMk cId="3138361780" sldId="394"/>
        </pc:sldMkLst>
      </pc:sldChg>
      <pc:sldChg chg="del">
        <pc:chgData name="Ula Staigyte" userId="f6dd036f-ca91-4ba7-a32e-843cc9983a4c" providerId="ADAL" clId="{025139B8-0A69-4A45-9B3D-4ADF647C2763}" dt="2022-01-19T09:10:33.061" v="12" actId="47"/>
        <pc:sldMkLst>
          <pc:docMk/>
          <pc:sldMk cId="1354886905" sldId="395"/>
        </pc:sldMkLst>
      </pc:sldChg>
      <pc:sldChg chg="del">
        <pc:chgData name="Ula Staigyte" userId="f6dd036f-ca91-4ba7-a32e-843cc9983a4c" providerId="ADAL" clId="{025139B8-0A69-4A45-9B3D-4ADF647C2763}" dt="2022-01-19T09:10:35.027" v="14" actId="47"/>
        <pc:sldMkLst>
          <pc:docMk/>
          <pc:sldMk cId="565654038" sldId="396"/>
        </pc:sldMkLst>
      </pc:sldChg>
      <pc:sldChg chg="del">
        <pc:chgData name="Ula Staigyte" userId="f6dd036f-ca91-4ba7-a32e-843cc9983a4c" providerId="ADAL" clId="{025139B8-0A69-4A45-9B3D-4ADF647C2763}" dt="2022-01-19T09:09:59.429" v="6" actId="47"/>
        <pc:sldMkLst>
          <pc:docMk/>
          <pc:sldMk cId="2086341190" sldId="397"/>
        </pc:sldMkLst>
      </pc:sldChg>
      <pc:sldChg chg="del">
        <pc:chgData name="Ula Staigyte" userId="f6dd036f-ca91-4ba7-a32e-843cc9983a4c" providerId="ADAL" clId="{025139B8-0A69-4A45-9B3D-4ADF647C2763}" dt="2022-01-19T09:10:46.709" v="28" actId="47"/>
        <pc:sldMkLst>
          <pc:docMk/>
          <pc:sldMk cId="1941786559" sldId="398"/>
        </pc:sldMkLst>
      </pc:sldChg>
      <pc:sldChg chg="del">
        <pc:chgData name="Ula Staigyte" userId="f6dd036f-ca91-4ba7-a32e-843cc9983a4c" providerId="ADAL" clId="{025139B8-0A69-4A45-9B3D-4ADF647C2763}" dt="2022-01-19T09:10:38.462" v="19" actId="47"/>
        <pc:sldMkLst>
          <pc:docMk/>
          <pc:sldMk cId="3426078184" sldId="399"/>
        </pc:sldMkLst>
      </pc:sldChg>
      <pc:sldChg chg="del">
        <pc:chgData name="Ula Staigyte" userId="f6dd036f-ca91-4ba7-a32e-843cc9983a4c" providerId="ADAL" clId="{025139B8-0A69-4A45-9B3D-4ADF647C2763}" dt="2022-01-19T09:10:41.479" v="24" actId="47"/>
        <pc:sldMkLst>
          <pc:docMk/>
          <pc:sldMk cId="3723040973" sldId="400"/>
        </pc:sldMkLst>
      </pc:sldChg>
      <pc:sldChg chg="del">
        <pc:chgData name="Ula Staigyte" userId="f6dd036f-ca91-4ba7-a32e-843cc9983a4c" providerId="ADAL" clId="{025139B8-0A69-4A45-9B3D-4ADF647C2763}" dt="2022-01-19T09:10:44.577" v="26" actId="47"/>
        <pc:sldMkLst>
          <pc:docMk/>
          <pc:sldMk cId="1537359740" sldId="401"/>
        </pc:sldMkLst>
      </pc:sldChg>
      <pc:sldChg chg="del">
        <pc:chgData name="Ula Staigyte" userId="f6dd036f-ca91-4ba7-a32e-843cc9983a4c" providerId="ADAL" clId="{025139B8-0A69-4A45-9B3D-4ADF647C2763}" dt="2022-01-19T09:10:32.025" v="10" actId="47"/>
        <pc:sldMkLst>
          <pc:docMk/>
          <pc:sldMk cId="3323204474" sldId="402"/>
        </pc:sldMkLst>
      </pc:sldChg>
      <pc:sldChg chg="del">
        <pc:chgData name="Ula Staigyte" userId="f6dd036f-ca91-4ba7-a32e-843cc9983a4c" providerId="ADAL" clId="{025139B8-0A69-4A45-9B3D-4ADF647C2763}" dt="2022-01-19T09:10:37.141" v="17" actId="47"/>
        <pc:sldMkLst>
          <pc:docMk/>
          <pc:sldMk cId="1778769460" sldId="403"/>
        </pc:sldMkLst>
      </pc:sldChg>
      <pc:sldChg chg="del">
        <pc:chgData name="Ula Staigyte" userId="f6dd036f-ca91-4ba7-a32e-843cc9983a4c" providerId="ADAL" clId="{025139B8-0A69-4A45-9B3D-4ADF647C2763}" dt="2022-01-19T09:10:40.287" v="22" actId="47"/>
        <pc:sldMkLst>
          <pc:docMk/>
          <pc:sldMk cId="2282123018" sldId="404"/>
        </pc:sldMkLst>
      </pc:sldChg>
      <pc:sldChg chg="del">
        <pc:chgData name="Ula Staigyte" userId="f6dd036f-ca91-4ba7-a32e-843cc9983a4c" providerId="ADAL" clId="{025139B8-0A69-4A45-9B3D-4ADF647C2763}" dt="2022-01-19T09:10:32.628" v="11" actId="47"/>
        <pc:sldMkLst>
          <pc:docMk/>
          <pc:sldMk cId="616496429" sldId="405"/>
        </pc:sldMkLst>
      </pc:sldChg>
      <pc:sldChg chg="addSp modSp mod delCm">
        <pc:chgData name="Ula Staigyte" userId="f6dd036f-ca91-4ba7-a32e-843cc9983a4c" providerId="ADAL" clId="{025139B8-0A69-4A45-9B3D-4ADF647C2763}" dt="2022-01-31T15:50:28.793" v="8066"/>
        <pc:sldMkLst>
          <pc:docMk/>
          <pc:sldMk cId="2201633665" sldId="406"/>
        </pc:sldMkLst>
        <pc:spChg chg="add mod">
          <ac:chgData name="Ula Staigyte" userId="f6dd036f-ca91-4ba7-a32e-843cc9983a4c" providerId="ADAL" clId="{025139B8-0A69-4A45-9B3D-4ADF647C2763}" dt="2022-01-31T15:50:28.793" v="8066"/>
          <ac:spMkLst>
            <pc:docMk/>
            <pc:sldMk cId="2201633665" sldId="406"/>
            <ac:spMk id="20" creationId="{09C4EFAC-A4B2-49EC-94ED-A1A510ADBE3A}"/>
          </ac:spMkLst>
        </pc:spChg>
        <pc:spChg chg="add mod">
          <ac:chgData name="Ula Staigyte" userId="f6dd036f-ca91-4ba7-a32e-843cc9983a4c" providerId="ADAL" clId="{025139B8-0A69-4A45-9B3D-4ADF647C2763}" dt="2022-01-31T14:38:24.001" v="7215" actId="20577"/>
          <ac:spMkLst>
            <pc:docMk/>
            <pc:sldMk cId="2201633665" sldId="406"/>
            <ac:spMk id="21" creationId="{84D41F54-52B8-40D7-8F9B-2A3F6B9EA7D9}"/>
          </ac:spMkLst>
        </pc:spChg>
        <pc:spChg chg="mod">
          <ac:chgData name="Ula Staigyte" userId="f6dd036f-ca91-4ba7-a32e-843cc9983a4c" providerId="ADAL" clId="{025139B8-0A69-4A45-9B3D-4ADF647C2763}" dt="2022-01-31T14:38:50.992" v="7272" actId="20577"/>
          <ac:spMkLst>
            <pc:docMk/>
            <pc:sldMk cId="2201633665" sldId="406"/>
            <ac:spMk id="38" creationId="{CE778F19-9973-4789-8210-501FEA8641BC}"/>
          </ac:spMkLst>
        </pc:spChg>
        <pc:spChg chg="mod">
          <ac:chgData name="Ula Staigyte" userId="f6dd036f-ca91-4ba7-a32e-843cc9983a4c" providerId="ADAL" clId="{025139B8-0A69-4A45-9B3D-4ADF647C2763}" dt="2022-01-25T12:45:13.204" v="2148" actId="20577"/>
          <ac:spMkLst>
            <pc:docMk/>
            <pc:sldMk cId="2201633665" sldId="406"/>
            <ac:spMk id="40" creationId="{7A4F7596-014D-4FEF-AF47-6E163A37FE3C}"/>
          </ac:spMkLst>
        </pc:spChg>
        <pc:spChg chg="mod">
          <ac:chgData name="Ula Staigyte" userId="f6dd036f-ca91-4ba7-a32e-843cc9983a4c" providerId="ADAL" clId="{025139B8-0A69-4A45-9B3D-4ADF647C2763}" dt="2022-01-25T12:45:18.654" v="2151" actId="20577"/>
          <ac:spMkLst>
            <pc:docMk/>
            <pc:sldMk cId="2201633665" sldId="406"/>
            <ac:spMk id="47" creationId="{2A830FF9-5090-4B04-8449-AD8528C0503B}"/>
          </ac:spMkLst>
        </pc:spChg>
        <pc:grpChg chg="mod">
          <ac:chgData name="Ula Staigyte" userId="f6dd036f-ca91-4ba7-a32e-843cc9983a4c" providerId="ADAL" clId="{025139B8-0A69-4A45-9B3D-4ADF647C2763}" dt="2022-01-31T14:37:14.700" v="7209" actId="1076"/>
          <ac:grpSpMkLst>
            <pc:docMk/>
            <pc:sldMk cId="2201633665" sldId="406"/>
            <ac:grpSpMk id="32" creationId="{FADC51F2-BE60-478A-BC01-4D0B32C08E41}"/>
          </ac:grpSpMkLst>
        </pc:grpChg>
      </pc:sldChg>
      <pc:sldChg chg="addSp modSp mod delCm modCm">
        <pc:chgData name="Ula Staigyte" userId="f6dd036f-ca91-4ba7-a32e-843cc9983a4c" providerId="ADAL" clId="{025139B8-0A69-4A45-9B3D-4ADF647C2763}" dt="2022-01-31T15:50:24.982" v="8065"/>
        <pc:sldMkLst>
          <pc:docMk/>
          <pc:sldMk cId="1703862666" sldId="407"/>
        </pc:sldMkLst>
        <pc:spChg chg="mod">
          <ac:chgData name="Ula Staigyte" userId="f6dd036f-ca91-4ba7-a32e-843cc9983a4c" providerId="ADAL" clId="{025139B8-0A69-4A45-9B3D-4ADF647C2763}" dt="2022-01-31T14:41:35.395" v="7294" actId="164"/>
          <ac:spMkLst>
            <pc:docMk/>
            <pc:sldMk cId="1703862666" sldId="407"/>
            <ac:spMk id="21" creationId="{2918A5D4-8E98-4D89-9DE8-DDC6093F2BA6}"/>
          </ac:spMkLst>
        </pc:spChg>
        <pc:spChg chg="mod">
          <ac:chgData name="Ula Staigyte" userId="f6dd036f-ca91-4ba7-a32e-843cc9983a4c" providerId="ADAL" clId="{025139B8-0A69-4A45-9B3D-4ADF647C2763}" dt="2022-01-31T14:41:54.473" v="7296" actId="1076"/>
          <ac:spMkLst>
            <pc:docMk/>
            <pc:sldMk cId="1703862666" sldId="407"/>
            <ac:spMk id="22" creationId="{C6F4B485-6139-4684-9C2D-14454CB192B4}"/>
          </ac:spMkLst>
        </pc:spChg>
        <pc:spChg chg="mod">
          <ac:chgData name="Ula Staigyte" userId="f6dd036f-ca91-4ba7-a32e-843cc9983a4c" providerId="ADAL" clId="{025139B8-0A69-4A45-9B3D-4ADF647C2763}" dt="2022-01-31T14:41:35.395" v="7294" actId="164"/>
          <ac:spMkLst>
            <pc:docMk/>
            <pc:sldMk cId="1703862666" sldId="407"/>
            <ac:spMk id="23" creationId="{1539C1E6-3BEA-4BA8-9314-EC33F4830FC1}"/>
          </ac:spMkLst>
        </pc:spChg>
        <pc:spChg chg="add mod">
          <ac:chgData name="Ula Staigyte" userId="f6dd036f-ca91-4ba7-a32e-843cc9983a4c" providerId="ADAL" clId="{025139B8-0A69-4A45-9B3D-4ADF647C2763}" dt="2022-01-31T15:50:24.982" v="8065"/>
          <ac:spMkLst>
            <pc:docMk/>
            <pc:sldMk cId="1703862666" sldId="407"/>
            <ac:spMk id="24" creationId="{E239651D-3B16-4B0D-A0AB-EAE6FB8FF64D}"/>
          </ac:spMkLst>
        </pc:spChg>
        <pc:spChg chg="add mod">
          <ac:chgData name="Ula Staigyte" userId="f6dd036f-ca91-4ba7-a32e-843cc9983a4c" providerId="ADAL" clId="{025139B8-0A69-4A45-9B3D-4ADF647C2763}" dt="2022-01-31T14:43:22.376" v="7299" actId="164"/>
          <ac:spMkLst>
            <pc:docMk/>
            <pc:sldMk cId="1703862666" sldId="407"/>
            <ac:spMk id="25" creationId="{2D6A7C6A-41D2-4363-942C-BFE402D26F5A}"/>
          </ac:spMkLst>
        </pc:spChg>
        <pc:spChg chg="mod">
          <ac:chgData name="Ula Staigyte" userId="f6dd036f-ca91-4ba7-a32e-843cc9983a4c" providerId="ADAL" clId="{025139B8-0A69-4A45-9B3D-4ADF647C2763}" dt="2022-01-31T14:40:37.921" v="7288"/>
          <ac:spMkLst>
            <pc:docMk/>
            <pc:sldMk cId="1703862666" sldId="407"/>
            <ac:spMk id="38" creationId="{CE778F19-9973-4789-8210-501FEA8641BC}"/>
          </ac:spMkLst>
        </pc:spChg>
        <pc:spChg chg="mod">
          <ac:chgData name="Ula Staigyte" userId="f6dd036f-ca91-4ba7-a32e-843cc9983a4c" providerId="ADAL" clId="{025139B8-0A69-4A45-9B3D-4ADF647C2763}" dt="2022-01-24T12:40:48.743" v="1650" actId="20577"/>
          <ac:spMkLst>
            <pc:docMk/>
            <pc:sldMk cId="1703862666" sldId="407"/>
            <ac:spMk id="40" creationId="{7A4F7596-014D-4FEF-AF47-6E163A37FE3C}"/>
          </ac:spMkLst>
        </pc:spChg>
        <pc:spChg chg="mod">
          <ac:chgData name="Ula Staigyte" userId="f6dd036f-ca91-4ba7-a32e-843cc9983a4c" providerId="ADAL" clId="{025139B8-0A69-4A45-9B3D-4ADF647C2763}" dt="2022-01-25T12:45:30.123" v="2155" actId="20577"/>
          <ac:spMkLst>
            <pc:docMk/>
            <pc:sldMk cId="1703862666" sldId="407"/>
            <ac:spMk id="47" creationId="{2A830FF9-5090-4B04-8449-AD8528C0503B}"/>
          </ac:spMkLst>
        </pc:spChg>
        <pc:grpChg chg="add mod">
          <ac:chgData name="Ula Staigyte" userId="f6dd036f-ca91-4ba7-a32e-843cc9983a4c" providerId="ADAL" clId="{025139B8-0A69-4A45-9B3D-4ADF647C2763}" dt="2022-01-31T14:41:49.583" v="7295" actId="1076"/>
          <ac:grpSpMkLst>
            <pc:docMk/>
            <pc:sldMk cId="1703862666" sldId="407"/>
            <ac:grpSpMk id="2" creationId="{4A7CBF90-8891-4EB7-8F89-714F5E4F49C6}"/>
          </ac:grpSpMkLst>
        </pc:grpChg>
        <pc:grpChg chg="add mod">
          <ac:chgData name="Ula Staigyte" userId="f6dd036f-ca91-4ba7-a32e-843cc9983a4c" providerId="ADAL" clId="{025139B8-0A69-4A45-9B3D-4ADF647C2763}" dt="2022-01-31T14:43:22.376" v="7299" actId="164"/>
          <ac:grpSpMkLst>
            <pc:docMk/>
            <pc:sldMk cId="1703862666" sldId="407"/>
            <ac:grpSpMk id="3" creationId="{4A96D3F8-390A-4289-810D-4BEF4F951BCD}"/>
          </ac:grpSpMkLst>
        </pc:grpChg>
        <pc:grpChg chg="mod">
          <ac:chgData name="Ula Staigyte" userId="f6dd036f-ca91-4ba7-a32e-843cc9983a4c" providerId="ADAL" clId="{025139B8-0A69-4A45-9B3D-4ADF647C2763}" dt="2022-01-31T14:39:44.303" v="7281" actId="1076"/>
          <ac:grpSpMkLst>
            <pc:docMk/>
            <pc:sldMk cId="1703862666" sldId="407"/>
            <ac:grpSpMk id="32" creationId="{FADC51F2-BE60-478A-BC01-4D0B32C08E41}"/>
          </ac:grpSpMkLst>
        </pc:grpChg>
      </pc:sldChg>
      <pc:sldChg chg="addSp modSp mod delCm">
        <pc:chgData name="Ula Staigyte" userId="f6dd036f-ca91-4ba7-a32e-843cc9983a4c" providerId="ADAL" clId="{025139B8-0A69-4A45-9B3D-4ADF647C2763}" dt="2022-01-31T15:50:18.222" v="8064" actId="20577"/>
        <pc:sldMkLst>
          <pc:docMk/>
          <pc:sldMk cId="3899946674" sldId="409"/>
        </pc:sldMkLst>
        <pc:spChg chg="mod">
          <ac:chgData name="Ula Staigyte" userId="f6dd036f-ca91-4ba7-a32e-843cc9983a4c" providerId="ADAL" clId="{025139B8-0A69-4A45-9B3D-4ADF647C2763}" dt="2022-01-31T14:42:47.463" v="7297" actId="164"/>
          <ac:spMkLst>
            <pc:docMk/>
            <pc:sldMk cId="3899946674" sldId="409"/>
            <ac:spMk id="24" creationId="{FDF17BCC-962E-4783-B2A1-DD3DBEE6D313}"/>
          </ac:spMkLst>
        </pc:spChg>
        <pc:spChg chg="mod">
          <ac:chgData name="Ula Staigyte" userId="f6dd036f-ca91-4ba7-a32e-843cc9983a4c" providerId="ADAL" clId="{025139B8-0A69-4A45-9B3D-4ADF647C2763}" dt="2022-01-31T14:42:47.463" v="7297" actId="164"/>
          <ac:spMkLst>
            <pc:docMk/>
            <pc:sldMk cId="3899946674" sldId="409"/>
            <ac:spMk id="25" creationId="{192C126F-F51C-4D08-849F-A0CCAC8C3F2B}"/>
          </ac:spMkLst>
        </pc:spChg>
        <pc:spChg chg="mod">
          <ac:chgData name="Ula Staigyte" userId="f6dd036f-ca91-4ba7-a32e-843cc9983a4c" providerId="ADAL" clId="{025139B8-0A69-4A45-9B3D-4ADF647C2763}" dt="2022-01-31T15:50:18.222" v="8064" actId="20577"/>
          <ac:spMkLst>
            <pc:docMk/>
            <pc:sldMk cId="3899946674" sldId="409"/>
            <ac:spMk id="26" creationId="{E11F3CB9-1C6D-4A03-903D-3C3D09967790}"/>
          </ac:spMkLst>
        </pc:spChg>
        <pc:spChg chg="mod">
          <ac:chgData name="Ula Staigyte" userId="f6dd036f-ca91-4ba7-a32e-843cc9983a4c" providerId="ADAL" clId="{025139B8-0A69-4A45-9B3D-4ADF647C2763}" dt="2022-01-31T14:43:28.542" v="7300"/>
          <ac:spMkLst>
            <pc:docMk/>
            <pc:sldMk cId="3899946674" sldId="409"/>
            <ac:spMk id="27" creationId="{197471E1-8D06-42DA-BE9F-3D45074A70ED}"/>
          </ac:spMkLst>
        </pc:spChg>
        <pc:spChg chg="mod">
          <ac:chgData name="Ula Staigyte" userId="f6dd036f-ca91-4ba7-a32e-843cc9983a4c" providerId="ADAL" clId="{025139B8-0A69-4A45-9B3D-4ADF647C2763}" dt="2022-01-31T14:43:50.432" v="7302"/>
          <ac:spMkLst>
            <pc:docMk/>
            <pc:sldMk cId="3899946674" sldId="409"/>
            <ac:spMk id="38" creationId="{CE778F19-9973-4789-8210-501FEA8641BC}"/>
          </ac:spMkLst>
        </pc:spChg>
        <pc:spChg chg="mod">
          <ac:chgData name="Ula Staigyte" userId="f6dd036f-ca91-4ba7-a32e-843cc9983a4c" providerId="ADAL" clId="{025139B8-0A69-4A45-9B3D-4ADF647C2763}" dt="2022-01-25T12:45:48.659" v="2160" actId="20577"/>
          <ac:spMkLst>
            <pc:docMk/>
            <pc:sldMk cId="3899946674" sldId="409"/>
            <ac:spMk id="40" creationId="{7A4F7596-014D-4FEF-AF47-6E163A37FE3C}"/>
          </ac:spMkLst>
        </pc:spChg>
        <pc:spChg chg="mod">
          <ac:chgData name="Ula Staigyte" userId="f6dd036f-ca91-4ba7-a32e-843cc9983a4c" providerId="ADAL" clId="{025139B8-0A69-4A45-9B3D-4ADF647C2763}" dt="2022-01-25T12:45:55.243" v="2165" actId="20577"/>
          <ac:spMkLst>
            <pc:docMk/>
            <pc:sldMk cId="3899946674" sldId="409"/>
            <ac:spMk id="47" creationId="{2A830FF9-5090-4B04-8449-AD8528C0503B}"/>
          </ac:spMkLst>
        </pc:spChg>
        <pc:grpChg chg="add mod">
          <ac:chgData name="Ula Staigyte" userId="f6dd036f-ca91-4ba7-a32e-843cc9983a4c" providerId="ADAL" clId="{025139B8-0A69-4A45-9B3D-4ADF647C2763}" dt="2022-01-31T14:43:04.733" v="7298" actId="1076"/>
          <ac:grpSpMkLst>
            <pc:docMk/>
            <pc:sldMk cId="3899946674" sldId="409"/>
            <ac:grpSpMk id="2" creationId="{74C1C614-568B-4BFF-A4D0-FF5A74F83354}"/>
          </ac:grpSpMkLst>
        </pc:grpChg>
        <pc:grpChg chg="add mod">
          <ac:chgData name="Ula Staigyte" userId="f6dd036f-ca91-4ba7-a32e-843cc9983a4c" providerId="ADAL" clId="{025139B8-0A69-4A45-9B3D-4ADF647C2763}" dt="2022-01-31T14:43:28.542" v="7300"/>
          <ac:grpSpMkLst>
            <pc:docMk/>
            <pc:sldMk cId="3899946674" sldId="409"/>
            <ac:grpSpMk id="23" creationId="{1477C986-06CA-4A4F-B2BC-43C3CD0E31B0}"/>
          </ac:grpSpMkLst>
        </pc:grpChg>
        <pc:grpChg chg="mod">
          <ac:chgData name="Ula Staigyte" userId="f6dd036f-ca91-4ba7-a32e-843cc9983a4c" providerId="ADAL" clId="{025139B8-0A69-4A45-9B3D-4ADF647C2763}" dt="2022-01-31T14:42:47.463" v="7297" actId="164"/>
          <ac:grpSpMkLst>
            <pc:docMk/>
            <pc:sldMk cId="3899946674" sldId="409"/>
            <ac:grpSpMk id="32" creationId="{FADC51F2-BE60-478A-BC01-4D0B32C08E41}"/>
          </ac:grpSpMkLst>
        </pc:grpChg>
      </pc:sldChg>
      <pc:sldChg chg="del">
        <pc:chgData name="Ula Staigyte" userId="f6dd036f-ca91-4ba7-a32e-843cc9983a4c" providerId="ADAL" clId="{025139B8-0A69-4A45-9B3D-4ADF647C2763}" dt="2022-01-19T11:07:13.909" v="405" actId="47"/>
        <pc:sldMkLst>
          <pc:docMk/>
          <pc:sldMk cId="1357591157" sldId="410"/>
        </pc:sldMkLst>
      </pc:sldChg>
      <pc:sldChg chg="addSp modSp new del mod">
        <pc:chgData name="Ula Staigyte" userId="f6dd036f-ca91-4ba7-a32e-843cc9983a4c" providerId="ADAL" clId="{025139B8-0A69-4A45-9B3D-4ADF647C2763}" dt="2022-01-28T13:04:35.101" v="5155" actId="47"/>
        <pc:sldMkLst>
          <pc:docMk/>
          <pc:sldMk cId="3802643013" sldId="411"/>
        </pc:sldMkLst>
        <pc:spChg chg="mod">
          <ac:chgData name="Ula Staigyte" userId="f6dd036f-ca91-4ba7-a32e-843cc9983a4c" providerId="ADAL" clId="{025139B8-0A69-4A45-9B3D-4ADF647C2763}" dt="2022-01-19T09:36:18.630" v="124" actId="20577"/>
          <ac:spMkLst>
            <pc:docMk/>
            <pc:sldMk cId="3802643013" sldId="411"/>
            <ac:spMk id="2" creationId="{BE658163-EBED-498B-8C8F-8A66C6607080}"/>
          </ac:spMkLst>
        </pc:spChg>
        <pc:spChg chg="mod">
          <ac:chgData name="Ula Staigyte" userId="f6dd036f-ca91-4ba7-a32e-843cc9983a4c" providerId="ADAL" clId="{025139B8-0A69-4A45-9B3D-4ADF647C2763}" dt="2022-01-25T15:36:12.735" v="4613" actId="1076"/>
          <ac:spMkLst>
            <pc:docMk/>
            <pc:sldMk cId="3802643013" sldId="411"/>
            <ac:spMk id="5" creationId="{5365B1C2-CD88-415C-BCF7-09072BCE4C64}"/>
          </ac:spMkLst>
        </pc:spChg>
        <pc:spChg chg="mod">
          <ac:chgData name="Ula Staigyte" userId="f6dd036f-ca91-4ba7-a32e-843cc9983a4c" providerId="ADAL" clId="{025139B8-0A69-4A45-9B3D-4ADF647C2763}" dt="2022-01-24T12:13:32.985" v="549"/>
          <ac:spMkLst>
            <pc:docMk/>
            <pc:sldMk cId="3802643013" sldId="411"/>
            <ac:spMk id="6" creationId="{8827901F-A070-4362-AED2-18EAE026604E}"/>
          </ac:spMkLst>
        </pc:spChg>
        <pc:spChg chg="mod">
          <ac:chgData name="Ula Staigyte" userId="f6dd036f-ca91-4ba7-a32e-843cc9983a4c" providerId="ADAL" clId="{025139B8-0A69-4A45-9B3D-4ADF647C2763}" dt="2022-01-24T12:13:40.694" v="550"/>
          <ac:spMkLst>
            <pc:docMk/>
            <pc:sldMk cId="3802643013" sldId="411"/>
            <ac:spMk id="8" creationId="{F033AB35-643E-4599-9259-5B2A85410D48}"/>
          </ac:spMkLst>
        </pc:spChg>
        <pc:spChg chg="mod">
          <ac:chgData name="Ula Staigyte" userId="f6dd036f-ca91-4ba7-a32e-843cc9983a4c" providerId="ADAL" clId="{025139B8-0A69-4A45-9B3D-4ADF647C2763}" dt="2022-01-24T12:13:40.694" v="550"/>
          <ac:spMkLst>
            <pc:docMk/>
            <pc:sldMk cId="3802643013" sldId="411"/>
            <ac:spMk id="9" creationId="{E0F2A1A9-9EAF-4BA9-AE21-B08504F9D44F}"/>
          </ac:spMkLst>
        </pc:spChg>
        <pc:spChg chg="mod">
          <ac:chgData name="Ula Staigyte" userId="f6dd036f-ca91-4ba7-a32e-843cc9983a4c" providerId="ADAL" clId="{025139B8-0A69-4A45-9B3D-4ADF647C2763}" dt="2022-01-24T12:13:53.114" v="551"/>
          <ac:spMkLst>
            <pc:docMk/>
            <pc:sldMk cId="3802643013" sldId="411"/>
            <ac:spMk id="11" creationId="{5FB72991-1E01-4EBD-A1A1-DCF0EBC570FE}"/>
          </ac:spMkLst>
        </pc:spChg>
        <pc:spChg chg="mod">
          <ac:chgData name="Ula Staigyte" userId="f6dd036f-ca91-4ba7-a32e-843cc9983a4c" providerId="ADAL" clId="{025139B8-0A69-4A45-9B3D-4ADF647C2763}" dt="2022-01-24T12:13:53.114" v="551"/>
          <ac:spMkLst>
            <pc:docMk/>
            <pc:sldMk cId="3802643013" sldId="411"/>
            <ac:spMk id="12" creationId="{3DE39F8B-B13C-4A08-B0C6-90B4C93C7C84}"/>
          </ac:spMkLst>
        </pc:spChg>
        <pc:spChg chg="mod">
          <ac:chgData name="Ula Staigyte" userId="f6dd036f-ca91-4ba7-a32e-843cc9983a4c" providerId="ADAL" clId="{025139B8-0A69-4A45-9B3D-4ADF647C2763}" dt="2022-01-24T12:14:00.219" v="552"/>
          <ac:spMkLst>
            <pc:docMk/>
            <pc:sldMk cId="3802643013" sldId="411"/>
            <ac:spMk id="14" creationId="{47461236-1197-4F2D-BDCC-BB282470391A}"/>
          </ac:spMkLst>
        </pc:spChg>
        <pc:spChg chg="mod">
          <ac:chgData name="Ula Staigyte" userId="f6dd036f-ca91-4ba7-a32e-843cc9983a4c" providerId="ADAL" clId="{025139B8-0A69-4A45-9B3D-4ADF647C2763}" dt="2022-01-24T12:14:00.219" v="552"/>
          <ac:spMkLst>
            <pc:docMk/>
            <pc:sldMk cId="3802643013" sldId="411"/>
            <ac:spMk id="15" creationId="{4D1872E4-A48C-4A01-821D-AC45C437614E}"/>
          </ac:spMkLst>
        </pc:spChg>
        <pc:spChg chg="add mod">
          <ac:chgData name="Ula Staigyte" userId="f6dd036f-ca91-4ba7-a32e-843cc9983a4c" providerId="ADAL" clId="{025139B8-0A69-4A45-9B3D-4ADF647C2763}" dt="2022-01-24T12:32:15.592" v="1626" actId="20577"/>
          <ac:spMkLst>
            <pc:docMk/>
            <pc:sldMk cId="3802643013" sldId="411"/>
            <ac:spMk id="16" creationId="{B0896412-DD8E-4B04-B8AA-B40DCCE8903B}"/>
          </ac:spMkLst>
        </pc:spChg>
        <pc:spChg chg="mod">
          <ac:chgData name="Ula Staigyte" userId="f6dd036f-ca91-4ba7-a32e-843cc9983a4c" providerId="ADAL" clId="{025139B8-0A69-4A45-9B3D-4ADF647C2763}" dt="2022-01-24T12:33:06.162" v="1634" actId="20577"/>
          <ac:spMkLst>
            <pc:docMk/>
            <pc:sldMk cId="3802643013" sldId="411"/>
            <ac:spMk id="18" creationId="{7C775B86-228C-40A6-BCC6-E69CF9B6A712}"/>
          </ac:spMkLst>
        </pc:spChg>
        <pc:spChg chg="mod">
          <ac:chgData name="Ula Staigyte" userId="f6dd036f-ca91-4ba7-a32e-843cc9983a4c" providerId="ADAL" clId="{025139B8-0A69-4A45-9B3D-4ADF647C2763}" dt="2022-01-24T12:33:11.922" v="1635" actId="1076"/>
          <ac:spMkLst>
            <pc:docMk/>
            <pc:sldMk cId="3802643013" sldId="411"/>
            <ac:spMk id="19" creationId="{68B4C398-2059-41FE-8019-78A791AF583B}"/>
          </ac:spMkLst>
        </pc:spChg>
        <pc:spChg chg="mod">
          <ac:chgData name="Ula Staigyte" userId="f6dd036f-ca91-4ba7-a32e-843cc9983a4c" providerId="ADAL" clId="{025139B8-0A69-4A45-9B3D-4ADF647C2763}" dt="2022-01-24T12:33:03.299" v="1633" actId="1076"/>
          <ac:spMkLst>
            <pc:docMk/>
            <pc:sldMk cId="3802643013" sldId="411"/>
            <ac:spMk id="20" creationId="{57F34976-6365-4AE5-A3F1-7AED095C3068}"/>
          </ac:spMkLst>
        </pc:spChg>
        <pc:grpChg chg="add mod">
          <ac:chgData name="Ula Staigyte" userId="f6dd036f-ca91-4ba7-a32e-843cc9983a4c" providerId="ADAL" clId="{025139B8-0A69-4A45-9B3D-4ADF647C2763}" dt="2022-01-24T12:13:32.985" v="549"/>
          <ac:grpSpMkLst>
            <pc:docMk/>
            <pc:sldMk cId="3802643013" sldId="411"/>
            <ac:grpSpMk id="4" creationId="{3D4EAC51-D646-4BE4-8156-C71C00C68A3C}"/>
          </ac:grpSpMkLst>
        </pc:grpChg>
        <pc:grpChg chg="add mod">
          <ac:chgData name="Ula Staigyte" userId="f6dd036f-ca91-4ba7-a32e-843cc9983a4c" providerId="ADAL" clId="{025139B8-0A69-4A45-9B3D-4ADF647C2763}" dt="2022-01-27T15:42:42.997" v="4634" actId="14100"/>
          <ac:grpSpMkLst>
            <pc:docMk/>
            <pc:sldMk cId="3802643013" sldId="411"/>
            <ac:grpSpMk id="7" creationId="{C061E0B7-B9F3-4C2E-BDA1-A2B34F789183}"/>
          </ac:grpSpMkLst>
        </pc:grpChg>
        <pc:grpChg chg="add mod">
          <ac:chgData name="Ula Staigyte" userId="f6dd036f-ca91-4ba7-a32e-843cc9983a4c" providerId="ADAL" clId="{025139B8-0A69-4A45-9B3D-4ADF647C2763}" dt="2022-01-24T12:32:42.602" v="1629" actId="1076"/>
          <ac:grpSpMkLst>
            <pc:docMk/>
            <pc:sldMk cId="3802643013" sldId="411"/>
            <ac:grpSpMk id="10" creationId="{A2193465-EE59-4B3C-99FE-1D257CBAE8BE}"/>
          </ac:grpSpMkLst>
        </pc:grpChg>
        <pc:grpChg chg="add mod">
          <ac:chgData name="Ula Staigyte" userId="f6dd036f-ca91-4ba7-a32e-843cc9983a4c" providerId="ADAL" clId="{025139B8-0A69-4A45-9B3D-4ADF647C2763}" dt="2022-01-24T12:14:00.219" v="552"/>
          <ac:grpSpMkLst>
            <pc:docMk/>
            <pc:sldMk cId="3802643013" sldId="411"/>
            <ac:grpSpMk id="13" creationId="{AA0EEE8F-065E-4CB1-80E4-C81BB36771AC}"/>
          </ac:grpSpMkLst>
        </pc:grpChg>
        <pc:grpChg chg="add mod">
          <ac:chgData name="Ula Staigyte" userId="f6dd036f-ca91-4ba7-a32e-843cc9983a4c" providerId="ADAL" clId="{025139B8-0A69-4A45-9B3D-4ADF647C2763}" dt="2022-01-24T12:32:55.571" v="1632" actId="1076"/>
          <ac:grpSpMkLst>
            <pc:docMk/>
            <pc:sldMk cId="3802643013" sldId="411"/>
            <ac:grpSpMk id="17" creationId="{B034718D-E31D-4209-881F-FA752D3AD709}"/>
          </ac:grpSpMkLst>
        </pc:grpChg>
      </pc:sldChg>
      <pc:sldChg chg="addSp delSp modSp new mod addCm delCm modCm">
        <pc:chgData name="Ula Staigyte" userId="f6dd036f-ca91-4ba7-a32e-843cc9983a4c" providerId="ADAL" clId="{025139B8-0A69-4A45-9B3D-4ADF647C2763}" dt="2022-02-08T17:17:16.386" v="17535" actId="20577"/>
        <pc:sldMkLst>
          <pc:docMk/>
          <pc:sldMk cId="2721759979" sldId="412"/>
        </pc:sldMkLst>
        <pc:spChg chg="mod">
          <ac:chgData name="Ula Staigyte" userId="f6dd036f-ca91-4ba7-a32e-843cc9983a4c" providerId="ADAL" clId="{025139B8-0A69-4A45-9B3D-4ADF647C2763}" dt="2022-02-01T14:13:56.033" v="11179" actId="27636"/>
          <ac:spMkLst>
            <pc:docMk/>
            <pc:sldMk cId="2721759979" sldId="412"/>
            <ac:spMk id="2" creationId="{AE4BA17E-52E0-4305-A72C-A822494094B1}"/>
          </ac:spMkLst>
        </pc:spChg>
        <pc:spChg chg="del">
          <ac:chgData name="Ula Staigyte" userId="f6dd036f-ca91-4ba7-a32e-843cc9983a4c" providerId="ADAL" clId="{025139B8-0A69-4A45-9B3D-4ADF647C2763}" dt="2022-01-19T09:35:43.269" v="112" actId="478"/>
          <ac:spMkLst>
            <pc:docMk/>
            <pc:sldMk cId="2721759979" sldId="412"/>
            <ac:spMk id="3" creationId="{2FD89687-96BB-4A22-995C-A8493963F64A}"/>
          </ac:spMkLst>
        </pc:spChg>
        <pc:spChg chg="add del mod">
          <ac:chgData name="Ula Staigyte" userId="f6dd036f-ca91-4ba7-a32e-843cc9983a4c" providerId="ADAL" clId="{025139B8-0A69-4A45-9B3D-4ADF647C2763}" dt="2022-01-25T12:56:56.047" v="2664" actId="478"/>
          <ac:spMkLst>
            <pc:docMk/>
            <pc:sldMk cId="2721759979" sldId="412"/>
            <ac:spMk id="3" creationId="{B225F320-ED87-4803-94A8-FF988B6266B0}"/>
          </ac:spMkLst>
        </pc:spChg>
        <pc:spChg chg="add del mod">
          <ac:chgData name="Ula Staigyte" userId="f6dd036f-ca91-4ba7-a32e-843cc9983a4c" providerId="ADAL" clId="{025139B8-0A69-4A45-9B3D-4ADF647C2763}" dt="2022-01-25T13:37:22.582" v="2882" actId="478"/>
          <ac:spMkLst>
            <pc:docMk/>
            <pc:sldMk cId="2721759979" sldId="412"/>
            <ac:spMk id="4" creationId="{47416A74-9124-4EB8-A3C4-91EBE0A3EC4F}"/>
          </ac:spMkLst>
        </pc:spChg>
        <pc:spChg chg="del mod">
          <ac:chgData name="Ula Staigyte" userId="f6dd036f-ca91-4ba7-a32e-843cc9983a4c" providerId="ADAL" clId="{025139B8-0A69-4A45-9B3D-4ADF647C2763}" dt="2022-01-19T09:45:18.721" v="215" actId="478"/>
          <ac:spMkLst>
            <pc:docMk/>
            <pc:sldMk cId="2721759979" sldId="412"/>
            <ac:spMk id="5" creationId="{61FC8409-1BD8-46EB-BD7C-1AA1951812D5}"/>
          </ac:spMkLst>
        </pc:spChg>
        <pc:spChg chg="add mod">
          <ac:chgData name="Ula Staigyte" userId="f6dd036f-ca91-4ba7-a32e-843cc9983a4c" providerId="ADAL" clId="{025139B8-0A69-4A45-9B3D-4ADF647C2763}" dt="2022-02-03T19:03:08.849" v="16684" actId="20577"/>
          <ac:spMkLst>
            <pc:docMk/>
            <pc:sldMk cId="2721759979" sldId="412"/>
            <ac:spMk id="5" creationId="{7FBB4643-A1D9-4100-959E-34724EF33B8E}"/>
          </ac:spMkLst>
        </pc:spChg>
        <pc:spChg chg="add mod">
          <ac:chgData name="Ula Staigyte" userId="f6dd036f-ca91-4ba7-a32e-843cc9983a4c" providerId="ADAL" clId="{025139B8-0A69-4A45-9B3D-4ADF647C2763}" dt="2022-01-25T13:37:08.263" v="2876" actId="1076"/>
          <ac:spMkLst>
            <pc:docMk/>
            <pc:sldMk cId="2721759979" sldId="412"/>
            <ac:spMk id="5" creationId="{CD64A083-3110-464D-A6E9-F7F7EE6A6582}"/>
          </ac:spMkLst>
        </pc:spChg>
        <pc:spChg chg="add mod">
          <ac:chgData name="Ula Staigyte" userId="f6dd036f-ca91-4ba7-a32e-843cc9983a4c" providerId="ADAL" clId="{025139B8-0A69-4A45-9B3D-4ADF647C2763}" dt="2022-01-31T12:36:43.010" v="6520" actId="120"/>
          <ac:spMkLst>
            <pc:docMk/>
            <pc:sldMk cId="2721759979" sldId="412"/>
            <ac:spMk id="7" creationId="{139D78CF-5B4D-476A-8D8A-4EE4C4793D7A}"/>
          </ac:spMkLst>
        </pc:spChg>
        <pc:spChg chg="mod topLvl">
          <ac:chgData name="Ula Staigyte" userId="f6dd036f-ca91-4ba7-a32e-843cc9983a4c" providerId="ADAL" clId="{025139B8-0A69-4A45-9B3D-4ADF647C2763}" dt="2022-01-19T09:57:53.844" v="267" actId="164"/>
          <ac:spMkLst>
            <pc:docMk/>
            <pc:sldMk cId="2721759979" sldId="412"/>
            <ac:spMk id="7" creationId="{63F8363D-F7BE-4D17-B15D-25F6DC366A06}"/>
          </ac:spMkLst>
        </pc:spChg>
        <pc:spChg chg="mod topLvl">
          <ac:chgData name="Ula Staigyte" userId="f6dd036f-ca91-4ba7-a32e-843cc9983a4c" providerId="ADAL" clId="{025139B8-0A69-4A45-9B3D-4ADF647C2763}" dt="2022-01-19T09:57:38.081" v="264" actId="164"/>
          <ac:spMkLst>
            <pc:docMk/>
            <pc:sldMk cId="2721759979" sldId="412"/>
            <ac:spMk id="8" creationId="{BE4AC605-A72E-4955-9D01-E9C6C5D5DA3E}"/>
          </ac:spMkLst>
        </pc:spChg>
        <pc:spChg chg="add del mod">
          <ac:chgData name="Ula Staigyte" userId="f6dd036f-ca91-4ba7-a32e-843cc9983a4c" providerId="ADAL" clId="{025139B8-0A69-4A45-9B3D-4ADF647C2763}" dt="2022-01-25T13:17:55.389" v="2800" actId="478"/>
          <ac:spMkLst>
            <pc:docMk/>
            <pc:sldMk cId="2721759979" sldId="412"/>
            <ac:spMk id="9" creationId="{AEB55CF1-1FE0-4EFA-812E-E5011B04D41A}"/>
          </ac:spMkLst>
        </pc:spChg>
        <pc:spChg chg="mod topLvl">
          <ac:chgData name="Ula Staigyte" userId="f6dd036f-ca91-4ba7-a32e-843cc9983a4c" providerId="ADAL" clId="{025139B8-0A69-4A45-9B3D-4ADF647C2763}" dt="2022-01-19T09:57:42.193" v="265" actId="164"/>
          <ac:spMkLst>
            <pc:docMk/>
            <pc:sldMk cId="2721759979" sldId="412"/>
            <ac:spMk id="10" creationId="{D6F35C7F-5DBC-486E-A773-404E0BDB7A7D}"/>
          </ac:spMkLst>
        </pc:spChg>
        <pc:spChg chg="add mod">
          <ac:chgData name="Ula Staigyte" userId="f6dd036f-ca91-4ba7-a32e-843cc9983a4c" providerId="ADAL" clId="{025139B8-0A69-4A45-9B3D-4ADF647C2763}" dt="2022-01-19T09:57:38.081" v="264" actId="164"/>
          <ac:spMkLst>
            <pc:docMk/>
            <pc:sldMk cId="2721759979" sldId="412"/>
            <ac:spMk id="11" creationId="{5AC09933-38BB-4984-B3D3-259DE30E8D49}"/>
          </ac:spMkLst>
        </pc:spChg>
        <pc:spChg chg="add mod">
          <ac:chgData name="Ula Staigyte" userId="f6dd036f-ca91-4ba7-a32e-843cc9983a4c" providerId="ADAL" clId="{025139B8-0A69-4A45-9B3D-4ADF647C2763}" dt="2022-01-19T11:23:23.602" v="446" actId="1076"/>
          <ac:spMkLst>
            <pc:docMk/>
            <pc:sldMk cId="2721759979" sldId="412"/>
            <ac:spMk id="12" creationId="{28BE963D-89D2-472F-A0CA-3DED925637F3}"/>
          </ac:spMkLst>
        </pc:spChg>
        <pc:spChg chg="add mod">
          <ac:chgData name="Ula Staigyte" userId="f6dd036f-ca91-4ba7-a32e-843cc9983a4c" providerId="ADAL" clId="{025139B8-0A69-4A45-9B3D-4ADF647C2763}" dt="2022-01-31T12:28:44.575" v="6410" actId="20577"/>
          <ac:spMkLst>
            <pc:docMk/>
            <pc:sldMk cId="2721759979" sldId="412"/>
            <ac:spMk id="13" creationId="{5A591081-5BD0-495C-92F9-4F46B441223B}"/>
          </ac:spMkLst>
        </pc:spChg>
        <pc:spChg chg="add mod">
          <ac:chgData name="Ula Staigyte" userId="f6dd036f-ca91-4ba7-a32e-843cc9983a4c" providerId="ADAL" clId="{025139B8-0A69-4A45-9B3D-4ADF647C2763}" dt="2022-01-19T09:57:48.716" v="266" actId="164"/>
          <ac:spMkLst>
            <pc:docMk/>
            <pc:sldMk cId="2721759979" sldId="412"/>
            <ac:spMk id="14" creationId="{11735E13-8BA2-4B27-8057-5B61E1C84C97}"/>
          </ac:spMkLst>
        </pc:spChg>
        <pc:spChg chg="add mod">
          <ac:chgData name="Ula Staigyte" userId="f6dd036f-ca91-4ba7-a32e-843cc9983a4c" providerId="ADAL" clId="{025139B8-0A69-4A45-9B3D-4ADF647C2763}" dt="2022-01-24T12:27:57.383" v="1262" actId="1076"/>
          <ac:spMkLst>
            <pc:docMk/>
            <pc:sldMk cId="2721759979" sldId="412"/>
            <ac:spMk id="15" creationId="{7E3F2F41-4912-419C-817C-8019E342D440}"/>
          </ac:spMkLst>
        </pc:spChg>
        <pc:spChg chg="add del mod">
          <ac:chgData name="Ula Staigyte" userId="f6dd036f-ca91-4ba7-a32e-843cc9983a4c" providerId="ADAL" clId="{025139B8-0A69-4A45-9B3D-4ADF647C2763}" dt="2022-01-25T13:46:57.971" v="2974" actId="478"/>
          <ac:spMkLst>
            <pc:docMk/>
            <pc:sldMk cId="2721759979" sldId="412"/>
            <ac:spMk id="20" creationId="{B188D823-A7E9-43F9-B214-FCCB12518510}"/>
          </ac:spMkLst>
        </pc:spChg>
        <pc:spChg chg="add mod">
          <ac:chgData name="Ula Staigyte" userId="f6dd036f-ca91-4ba7-a32e-843cc9983a4c" providerId="ADAL" clId="{025139B8-0A69-4A45-9B3D-4ADF647C2763}" dt="2022-01-25T13:52:01.011" v="3018" actId="1038"/>
          <ac:spMkLst>
            <pc:docMk/>
            <pc:sldMk cId="2721759979" sldId="412"/>
            <ac:spMk id="21" creationId="{EE2DB64C-CF5D-4E44-BCED-450C1E3A5594}"/>
          </ac:spMkLst>
        </pc:spChg>
        <pc:spChg chg="add del">
          <ac:chgData name="Ula Staigyte" userId="f6dd036f-ca91-4ba7-a32e-843cc9983a4c" providerId="ADAL" clId="{025139B8-0A69-4A45-9B3D-4ADF647C2763}" dt="2022-01-19T11:17:55.150" v="414" actId="22"/>
          <ac:spMkLst>
            <pc:docMk/>
            <pc:sldMk cId="2721759979" sldId="412"/>
            <ac:spMk id="22" creationId="{504724E0-AF5E-4E97-9F6E-E270438F1A6B}"/>
          </ac:spMkLst>
        </pc:spChg>
        <pc:spChg chg="add del mod">
          <ac:chgData name="Ula Staigyte" userId="f6dd036f-ca91-4ba7-a32e-843cc9983a4c" providerId="ADAL" clId="{025139B8-0A69-4A45-9B3D-4ADF647C2763}" dt="2022-01-25T13:37:19.466" v="2881" actId="478"/>
          <ac:spMkLst>
            <pc:docMk/>
            <pc:sldMk cId="2721759979" sldId="412"/>
            <ac:spMk id="22" creationId="{E10196CA-4671-41B3-8A71-C60EE170C4DA}"/>
          </ac:spMkLst>
        </pc:spChg>
        <pc:spChg chg="mod">
          <ac:chgData name="Ula Staigyte" userId="f6dd036f-ca91-4ba7-a32e-843cc9983a4c" providerId="ADAL" clId="{025139B8-0A69-4A45-9B3D-4ADF647C2763}" dt="2022-01-25T12:57:32.341" v="2689"/>
          <ac:spMkLst>
            <pc:docMk/>
            <pc:sldMk cId="2721759979" sldId="412"/>
            <ac:spMk id="24" creationId="{946E6F03-F51C-488B-BE8A-394E20C371F9}"/>
          </ac:spMkLst>
        </pc:spChg>
        <pc:spChg chg="mod">
          <ac:chgData name="Ula Staigyte" userId="f6dd036f-ca91-4ba7-a32e-843cc9983a4c" providerId="ADAL" clId="{025139B8-0A69-4A45-9B3D-4ADF647C2763}" dt="2022-01-25T13:19:37.189" v="2830" actId="1076"/>
          <ac:spMkLst>
            <pc:docMk/>
            <pc:sldMk cId="2721759979" sldId="412"/>
            <ac:spMk id="25" creationId="{90293DC9-98F1-4B64-AA0A-40727076E014}"/>
          </ac:spMkLst>
        </pc:spChg>
        <pc:spChg chg="add mod">
          <ac:chgData name="Ula Staigyte" userId="f6dd036f-ca91-4ba7-a32e-843cc9983a4c" providerId="ADAL" clId="{025139B8-0A69-4A45-9B3D-4ADF647C2763}" dt="2022-01-31T12:47:00.578" v="6663" actId="14100"/>
          <ac:spMkLst>
            <pc:docMk/>
            <pc:sldMk cId="2721759979" sldId="412"/>
            <ac:spMk id="26" creationId="{7BB529D8-2156-4080-9F01-05216B8580D9}"/>
          </ac:spMkLst>
        </pc:spChg>
        <pc:spChg chg="add del mod">
          <ac:chgData name="Ula Staigyte" userId="f6dd036f-ca91-4ba7-a32e-843cc9983a4c" providerId="ADAL" clId="{025139B8-0A69-4A45-9B3D-4ADF647C2763}" dt="2022-01-31T12:44:22.310" v="6640" actId="478"/>
          <ac:spMkLst>
            <pc:docMk/>
            <pc:sldMk cId="2721759979" sldId="412"/>
            <ac:spMk id="27" creationId="{55F301C7-3050-493C-85AD-8D3B0EDE7ABA}"/>
          </ac:spMkLst>
        </pc:spChg>
        <pc:spChg chg="add del mod">
          <ac:chgData name="Ula Staigyte" userId="f6dd036f-ca91-4ba7-a32e-843cc9983a4c" providerId="ADAL" clId="{025139B8-0A69-4A45-9B3D-4ADF647C2763}" dt="2022-01-31T12:43:47.428" v="6612" actId="478"/>
          <ac:spMkLst>
            <pc:docMk/>
            <pc:sldMk cId="2721759979" sldId="412"/>
            <ac:spMk id="28" creationId="{3AA3E1AA-60AA-4754-A2C1-DD3D25A1CCAA}"/>
          </ac:spMkLst>
        </pc:spChg>
        <pc:spChg chg="add mod">
          <ac:chgData name="Ula Staigyte" userId="f6dd036f-ca91-4ba7-a32e-843cc9983a4c" providerId="ADAL" clId="{025139B8-0A69-4A45-9B3D-4ADF647C2763}" dt="2022-02-08T17:17:16.386" v="17535" actId="20577"/>
          <ac:spMkLst>
            <pc:docMk/>
            <pc:sldMk cId="2721759979" sldId="412"/>
            <ac:spMk id="29" creationId="{C343047F-E831-4BB7-9DF9-FCC6CEAAFD16}"/>
          </ac:spMkLst>
        </pc:spChg>
        <pc:spChg chg="add mod">
          <ac:chgData name="Ula Staigyte" userId="f6dd036f-ca91-4ba7-a32e-843cc9983a4c" providerId="ADAL" clId="{025139B8-0A69-4A45-9B3D-4ADF647C2763}" dt="2022-02-03T14:32:09.082" v="16658" actId="123"/>
          <ac:spMkLst>
            <pc:docMk/>
            <pc:sldMk cId="2721759979" sldId="412"/>
            <ac:spMk id="30" creationId="{D689F7A1-BE0D-4721-B8B3-BF877E743E7C}"/>
          </ac:spMkLst>
        </pc:spChg>
        <pc:spChg chg="add mod">
          <ac:chgData name="Ula Staigyte" userId="f6dd036f-ca91-4ba7-a32e-843cc9983a4c" providerId="ADAL" clId="{025139B8-0A69-4A45-9B3D-4ADF647C2763}" dt="2022-02-08T17:15:15.798" v="17528" actId="20577"/>
          <ac:spMkLst>
            <pc:docMk/>
            <pc:sldMk cId="2721759979" sldId="412"/>
            <ac:spMk id="31" creationId="{AB2257E2-C4C1-4E39-AB41-6A04F83D42A2}"/>
          </ac:spMkLst>
        </pc:spChg>
        <pc:spChg chg="add mod">
          <ac:chgData name="Ula Staigyte" userId="f6dd036f-ca91-4ba7-a32e-843cc9983a4c" providerId="ADAL" clId="{025139B8-0A69-4A45-9B3D-4ADF647C2763}" dt="2022-01-31T12:50:33.219" v="6679" actId="207"/>
          <ac:spMkLst>
            <pc:docMk/>
            <pc:sldMk cId="2721759979" sldId="412"/>
            <ac:spMk id="32" creationId="{786A3627-D2CF-4920-8CF1-4DD578091430}"/>
          </ac:spMkLst>
        </pc:spChg>
        <pc:spChg chg="add mod">
          <ac:chgData name="Ula Staigyte" userId="f6dd036f-ca91-4ba7-a32e-843cc9983a4c" providerId="ADAL" clId="{025139B8-0A69-4A45-9B3D-4ADF647C2763}" dt="2022-01-31T12:50:30.384" v="6678" actId="207"/>
          <ac:spMkLst>
            <pc:docMk/>
            <pc:sldMk cId="2721759979" sldId="412"/>
            <ac:spMk id="33" creationId="{19613554-A2FD-4A3A-857C-BF2A60B5A915}"/>
          </ac:spMkLst>
        </pc:spChg>
        <pc:spChg chg="add mod">
          <ac:chgData name="Ula Staigyte" userId="f6dd036f-ca91-4ba7-a32e-843cc9983a4c" providerId="ADAL" clId="{025139B8-0A69-4A45-9B3D-4ADF647C2763}" dt="2022-02-03T14:31:56.486" v="16654" actId="123"/>
          <ac:spMkLst>
            <pc:docMk/>
            <pc:sldMk cId="2721759979" sldId="412"/>
            <ac:spMk id="34" creationId="{C29A647E-28B2-4177-8460-D03DC7E2B8C6}"/>
          </ac:spMkLst>
        </pc:spChg>
        <pc:spChg chg="add mod">
          <ac:chgData name="Ula Staigyte" userId="f6dd036f-ca91-4ba7-a32e-843cc9983a4c" providerId="ADAL" clId="{025139B8-0A69-4A45-9B3D-4ADF647C2763}" dt="2022-02-03T14:32:00.092" v="16655" actId="123"/>
          <ac:spMkLst>
            <pc:docMk/>
            <pc:sldMk cId="2721759979" sldId="412"/>
            <ac:spMk id="35" creationId="{FE2824BF-DE8A-4CD4-8E3B-8BD04157FB33}"/>
          </ac:spMkLst>
        </pc:spChg>
        <pc:spChg chg="add del mod">
          <ac:chgData name="Ula Staigyte" userId="f6dd036f-ca91-4ba7-a32e-843cc9983a4c" providerId="ADAL" clId="{025139B8-0A69-4A45-9B3D-4ADF647C2763}" dt="2022-01-25T13:49:09.696" v="2978" actId="478"/>
          <ac:spMkLst>
            <pc:docMk/>
            <pc:sldMk cId="2721759979" sldId="412"/>
            <ac:spMk id="36" creationId="{052E92E1-A96F-4AFD-971B-375BC0514907}"/>
          </ac:spMkLst>
        </pc:spChg>
        <pc:spChg chg="add mod">
          <ac:chgData name="Ula Staigyte" userId="f6dd036f-ca91-4ba7-a32e-843cc9983a4c" providerId="ADAL" clId="{025139B8-0A69-4A45-9B3D-4ADF647C2763}" dt="2022-01-31T12:36:54.168" v="6524" actId="14100"/>
          <ac:spMkLst>
            <pc:docMk/>
            <pc:sldMk cId="2721759979" sldId="412"/>
            <ac:spMk id="36" creationId="{C8D4EDE0-24DF-4A08-A1F8-80092A5299DC}"/>
          </ac:spMkLst>
        </pc:spChg>
        <pc:spChg chg="add mod">
          <ac:chgData name="Ula Staigyte" userId="f6dd036f-ca91-4ba7-a32e-843cc9983a4c" providerId="ADAL" clId="{025139B8-0A69-4A45-9B3D-4ADF647C2763}" dt="2022-01-31T12:36:51.578" v="6523" actId="14100"/>
          <ac:spMkLst>
            <pc:docMk/>
            <pc:sldMk cId="2721759979" sldId="412"/>
            <ac:spMk id="37" creationId="{91B8FE04-D52F-4D25-91CB-9D32BDE45BAB}"/>
          </ac:spMkLst>
        </pc:spChg>
        <pc:spChg chg="del mod topLvl">
          <ac:chgData name="Ula Staigyte" userId="f6dd036f-ca91-4ba7-a32e-843cc9983a4c" providerId="ADAL" clId="{025139B8-0A69-4A45-9B3D-4ADF647C2763}" dt="2022-01-31T12:33:11.754" v="6495" actId="478"/>
          <ac:spMkLst>
            <pc:docMk/>
            <pc:sldMk cId="2721759979" sldId="412"/>
            <ac:spMk id="38" creationId="{3B430E64-300D-4096-83C3-1AA5DFC454FF}"/>
          </ac:spMkLst>
        </pc:spChg>
        <pc:spChg chg="del mod topLvl">
          <ac:chgData name="Ula Staigyte" userId="f6dd036f-ca91-4ba7-a32e-843cc9983a4c" providerId="ADAL" clId="{025139B8-0A69-4A45-9B3D-4ADF647C2763}" dt="2022-01-25T13:49:15.811" v="2981" actId="478"/>
          <ac:spMkLst>
            <pc:docMk/>
            <pc:sldMk cId="2721759979" sldId="412"/>
            <ac:spMk id="39" creationId="{B254F229-1F9B-4B22-91E9-60C4926D7918}"/>
          </ac:spMkLst>
        </pc:spChg>
        <pc:spChg chg="add mod">
          <ac:chgData name="Ula Staigyte" userId="f6dd036f-ca91-4ba7-a32e-843cc9983a4c" providerId="ADAL" clId="{025139B8-0A69-4A45-9B3D-4ADF647C2763}" dt="2022-01-31T12:36:34.645" v="6518" actId="1076"/>
          <ac:spMkLst>
            <pc:docMk/>
            <pc:sldMk cId="2721759979" sldId="412"/>
            <ac:spMk id="39" creationId="{FE0E0466-092B-4EB2-9159-3530496230B9}"/>
          </ac:spMkLst>
        </pc:spChg>
        <pc:spChg chg="add mod">
          <ac:chgData name="Ula Staigyte" userId="f6dd036f-ca91-4ba7-a32e-843cc9983a4c" providerId="ADAL" clId="{025139B8-0A69-4A45-9B3D-4ADF647C2763}" dt="2022-01-31T12:49:51.838" v="6677" actId="1076"/>
          <ac:spMkLst>
            <pc:docMk/>
            <pc:sldMk cId="2721759979" sldId="412"/>
            <ac:spMk id="40" creationId="{2F081759-DEEF-402F-AFDB-47ADC216DFC6}"/>
          </ac:spMkLst>
        </pc:spChg>
        <pc:spChg chg="add mod">
          <ac:chgData name="Ula Staigyte" userId="f6dd036f-ca91-4ba7-a32e-843cc9983a4c" providerId="ADAL" clId="{025139B8-0A69-4A45-9B3D-4ADF647C2763}" dt="2022-02-08T17:15:36.789" v="17534" actId="20577"/>
          <ac:spMkLst>
            <pc:docMk/>
            <pc:sldMk cId="2721759979" sldId="412"/>
            <ac:spMk id="41" creationId="{C55B508C-FA3D-48BE-9D4F-9310894B3EBF}"/>
          </ac:spMkLst>
        </pc:spChg>
        <pc:spChg chg="add mod">
          <ac:chgData name="Ula Staigyte" userId="f6dd036f-ca91-4ba7-a32e-843cc9983a4c" providerId="ADAL" clId="{025139B8-0A69-4A45-9B3D-4ADF647C2763}" dt="2022-02-01T14:32:11.300" v="11530" actId="20577"/>
          <ac:spMkLst>
            <pc:docMk/>
            <pc:sldMk cId="2721759979" sldId="412"/>
            <ac:spMk id="48" creationId="{9AB389A1-BF85-41DF-9224-7AF19DA74D61}"/>
          </ac:spMkLst>
        </pc:spChg>
        <pc:spChg chg="add del mod">
          <ac:chgData name="Ula Staigyte" userId="f6dd036f-ca91-4ba7-a32e-843cc9983a4c" providerId="ADAL" clId="{025139B8-0A69-4A45-9B3D-4ADF647C2763}" dt="2022-01-31T12:44:54.340" v="6642" actId="478"/>
          <ac:spMkLst>
            <pc:docMk/>
            <pc:sldMk cId="2721759979" sldId="412"/>
            <ac:spMk id="50" creationId="{40D14CB4-0547-4BBD-BFA2-68DD2C45F0BE}"/>
          </ac:spMkLst>
        </pc:spChg>
        <pc:spChg chg="add mod">
          <ac:chgData name="Ula Staigyte" userId="f6dd036f-ca91-4ba7-a32e-843cc9983a4c" providerId="ADAL" clId="{025139B8-0A69-4A45-9B3D-4ADF647C2763}" dt="2022-01-31T12:49:27.762" v="6675" actId="1076"/>
          <ac:spMkLst>
            <pc:docMk/>
            <pc:sldMk cId="2721759979" sldId="412"/>
            <ac:spMk id="51" creationId="{74F622AD-7A0F-4BBC-975B-239608279D14}"/>
          </ac:spMkLst>
        </pc:spChg>
        <pc:grpChg chg="add mod">
          <ac:chgData name="Ula Staigyte" userId="f6dd036f-ca91-4ba7-a32e-843cc9983a4c" providerId="ADAL" clId="{025139B8-0A69-4A45-9B3D-4ADF647C2763}" dt="2022-01-31T12:40:36.049" v="6542" actId="1076"/>
          <ac:grpSpMkLst>
            <pc:docMk/>
            <pc:sldMk cId="2721759979" sldId="412"/>
            <ac:grpSpMk id="3" creationId="{DBFFA163-CF3F-48D4-9BE9-9BBA3580A589}"/>
          </ac:grpSpMkLst>
        </pc:grpChg>
        <pc:grpChg chg="add del mod">
          <ac:chgData name="Ula Staigyte" userId="f6dd036f-ca91-4ba7-a32e-843cc9983a4c" providerId="ADAL" clId="{025139B8-0A69-4A45-9B3D-4ADF647C2763}" dt="2022-01-19T09:45:37.609" v="218" actId="165"/>
          <ac:grpSpMkLst>
            <pc:docMk/>
            <pc:sldMk cId="2721759979" sldId="412"/>
            <ac:grpSpMk id="4" creationId="{D79A54A1-A58F-413D-AAD1-07A511A68FAB}"/>
          </ac:grpSpMkLst>
        </pc:grpChg>
        <pc:grpChg chg="add del mod">
          <ac:chgData name="Ula Staigyte" userId="f6dd036f-ca91-4ba7-a32e-843cc9983a4c" providerId="ADAL" clId="{025139B8-0A69-4A45-9B3D-4ADF647C2763}" dt="2022-01-31T12:28:46.441" v="6411" actId="478"/>
          <ac:grpSpMkLst>
            <pc:docMk/>
            <pc:sldMk cId="2721759979" sldId="412"/>
            <ac:grpSpMk id="6" creationId="{4416BDBF-C76F-46D7-AFD8-08EBA1B383FF}"/>
          </ac:grpSpMkLst>
        </pc:grpChg>
        <pc:grpChg chg="add mod">
          <ac:chgData name="Ula Staigyte" userId="f6dd036f-ca91-4ba7-a32e-843cc9983a4c" providerId="ADAL" clId="{025139B8-0A69-4A45-9B3D-4ADF647C2763}" dt="2022-01-27T15:43:03.391" v="4635" actId="164"/>
          <ac:grpSpMkLst>
            <pc:docMk/>
            <pc:sldMk cId="2721759979" sldId="412"/>
            <ac:grpSpMk id="16" creationId="{5E1634EE-EF28-4C8E-901B-2E64E4F1BEF0}"/>
          </ac:grpSpMkLst>
        </pc:grpChg>
        <pc:grpChg chg="add del mod">
          <ac:chgData name="Ula Staigyte" userId="f6dd036f-ca91-4ba7-a32e-843cc9983a4c" providerId="ADAL" clId="{025139B8-0A69-4A45-9B3D-4ADF647C2763}" dt="2022-01-25T12:57:45.854" v="2692" actId="478"/>
          <ac:grpSpMkLst>
            <pc:docMk/>
            <pc:sldMk cId="2721759979" sldId="412"/>
            <ac:grpSpMk id="17" creationId="{9E3EE361-0EB7-469B-8FAB-A08317EDC90E}"/>
          </ac:grpSpMkLst>
        </pc:grpChg>
        <pc:grpChg chg="add mod">
          <ac:chgData name="Ula Staigyte" userId="f6dd036f-ca91-4ba7-a32e-843cc9983a4c" providerId="ADAL" clId="{025139B8-0A69-4A45-9B3D-4ADF647C2763}" dt="2022-01-31T12:39:47.349" v="6540" actId="14100"/>
          <ac:grpSpMkLst>
            <pc:docMk/>
            <pc:sldMk cId="2721759979" sldId="412"/>
            <ac:grpSpMk id="18" creationId="{22508EBC-BCC6-4F9F-A332-AFED810ADEFC}"/>
          </ac:grpSpMkLst>
        </pc:grpChg>
        <pc:grpChg chg="add del mod">
          <ac:chgData name="Ula Staigyte" userId="f6dd036f-ca91-4ba7-a32e-843cc9983a4c" providerId="ADAL" clId="{025139B8-0A69-4A45-9B3D-4ADF647C2763}" dt="2022-01-25T12:56:51.599" v="2663" actId="478"/>
          <ac:grpSpMkLst>
            <pc:docMk/>
            <pc:sldMk cId="2721759979" sldId="412"/>
            <ac:grpSpMk id="19" creationId="{AB6B1B96-550C-4A94-8820-25871A730F5D}"/>
          </ac:grpSpMkLst>
        </pc:grpChg>
        <pc:grpChg chg="add mod">
          <ac:chgData name="Ula Staigyte" userId="f6dd036f-ca91-4ba7-a32e-843cc9983a4c" providerId="ADAL" clId="{025139B8-0A69-4A45-9B3D-4ADF647C2763}" dt="2022-01-25T13:58:47.360" v="3049" actId="14100"/>
          <ac:grpSpMkLst>
            <pc:docMk/>
            <pc:sldMk cId="2721759979" sldId="412"/>
            <ac:grpSpMk id="23" creationId="{9E9B671E-8FB1-41E0-88FF-13CBD3BFCA46}"/>
          </ac:grpSpMkLst>
        </pc:grpChg>
        <pc:grpChg chg="add del mod">
          <ac:chgData name="Ula Staigyte" userId="f6dd036f-ca91-4ba7-a32e-843cc9983a4c" providerId="ADAL" clId="{025139B8-0A69-4A45-9B3D-4ADF647C2763}" dt="2022-01-25T13:49:15.811" v="2981" actId="478"/>
          <ac:grpSpMkLst>
            <pc:docMk/>
            <pc:sldMk cId="2721759979" sldId="412"/>
            <ac:grpSpMk id="37" creationId="{B3413DA8-0196-4AD8-B1E3-FC99C574FB57}"/>
          </ac:grpSpMkLst>
        </pc:grpChg>
        <pc:graphicFrameChg chg="del mod">
          <ac:chgData name="Ula Staigyte" userId="f6dd036f-ca91-4ba7-a32e-843cc9983a4c" providerId="ADAL" clId="{025139B8-0A69-4A45-9B3D-4ADF647C2763}" dt="2022-01-19T09:35:26.376" v="103" actId="478"/>
          <ac:graphicFrameMkLst>
            <pc:docMk/>
            <pc:sldMk cId="2721759979" sldId="412"/>
            <ac:graphicFrameMk id="6" creationId="{38ECEF50-CE2A-46E6-92BD-2B1C32785F8F}"/>
          </ac:graphicFrameMkLst>
        </pc:graphicFrameChg>
        <pc:graphicFrameChg chg="del mod">
          <ac:chgData name="Ula Staigyte" userId="f6dd036f-ca91-4ba7-a32e-843cc9983a4c" providerId="ADAL" clId="{025139B8-0A69-4A45-9B3D-4ADF647C2763}" dt="2022-01-19T09:35:22.002" v="102" actId="478"/>
          <ac:graphicFrameMkLst>
            <pc:docMk/>
            <pc:sldMk cId="2721759979" sldId="412"/>
            <ac:graphicFrameMk id="9" creationId="{1AC969D7-28A0-4932-A028-F128E0FC0668}"/>
          </ac:graphicFrameMkLst>
        </pc:graphicFrameChg>
        <pc:picChg chg="add mod">
          <ac:chgData name="Ula Staigyte" userId="f6dd036f-ca91-4ba7-a32e-843cc9983a4c" providerId="ADAL" clId="{025139B8-0A69-4A45-9B3D-4ADF647C2763}" dt="2022-01-28T13:20:39.401" v="5580" actId="1076"/>
          <ac:picMkLst>
            <pc:docMk/>
            <pc:sldMk cId="2721759979" sldId="412"/>
            <ac:picMk id="4" creationId="{279D2EE1-A565-4E1F-92E4-F39CEBFE7A19}"/>
          </ac:picMkLst>
        </pc:picChg>
        <pc:cxnChg chg="add del mod">
          <ac:chgData name="Ula Staigyte" userId="f6dd036f-ca91-4ba7-a32e-843cc9983a4c" providerId="ADAL" clId="{025139B8-0A69-4A45-9B3D-4ADF647C2763}" dt="2022-01-31T12:36:02.892" v="6517" actId="11529"/>
          <ac:cxnSpMkLst>
            <pc:docMk/>
            <pc:sldMk cId="2721759979" sldId="412"/>
            <ac:cxnSpMk id="10" creationId="{134BF525-6031-4B43-80C5-50EB8236A808}"/>
          </ac:cxnSpMkLst>
        </pc:cxnChg>
        <pc:cxnChg chg="add del mod">
          <ac:chgData name="Ula Staigyte" userId="f6dd036f-ca91-4ba7-a32e-843cc9983a4c" providerId="ADAL" clId="{025139B8-0A69-4A45-9B3D-4ADF647C2763}" dt="2022-01-31T12:36:02.618" v="6516" actId="11529"/>
          <ac:cxnSpMkLst>
            <pc:docMk/>
            <pc:sldMk cId="2721759979" sldId="412"/>
            <ac:cxnSpMk id="15" creationId="{EBF8F45C-2E26-4FE1-A9C0-E28517031F56}"/>
          </ac:cxnSpMkLst>
        </pc:cxnChg>
        <pc:cxnChg chg="add">
          <ac:chgData name="Ula Staigyte" userId="f6dd036f-ca91-4ba7-a32e-843cc9983a4c" providerId="ADAL" clId="{025139B8-0A69-4A45-9B3D-4ADF647C2763}" dt="2022-01-31T12:37:07.578" v="6525" actId="11529"/>
          <ac:cxnSpMkLst>
            <pc:docMk/>
            <pc:sldMk cId="2721759979" sldId="412"/>
            <ac:cxnSpMk id="19" creationId="{CAC37970-8098-4B08-8D1B-D491100AB045}"/>
          </ac:cxnSpMkLst>
        </pc:cxnChg>
        <pc:cxnChg chg="add del mod">
          <ac:chgData name="Ula Staigyte" userId="f6dd036f-ca91-4ba7-a32e-843cc9983a4c" providerId="ADAL" clId="{025139B8-0A69-4A45-9B3D-4ADF647C2763}" dt="2022-01-31T12:37:21.367" v="6528" actId="478"/>
          <ac:cxnSpMkLst>
            <pc:docMk/>
            <pc:sldMk cId="2721759979" sldId="412"/>
            <ac:cxnSpMk id="22" creationId="{FA97FF5C-A134-4C15-A2AD-26E670A34D22}"/>
          </ac:cxnSpMkLst>
        </pc:cxnChg>
        <pc:cxnChg chg="add del mod">
          <ac:chgData name="Ula Staigyte" userId="f6dd036f-ca91-4ba7-a32e-843cc9983a4c" providerId="ADAL" clId="{025139B8-0A69-4A45-9B3D-4ADF647C2763}" dt="2022-01-31T12:37:34.783" v="6531" actId="478"/>
          <ac:cxnSpMkLst>
            <pc:docMk/>
            <pc:sldMk cId="2721759979" sldId="412"/>
            <ac:cxnSpMk id="43" creationId="{5323EF2E-B1E1-4CD4-A545-28DD3DE14885}"/>
          </ac:cxnSpMkLst>
        </pc:cxnChg>
        <pc:cxnChg chg="add">
          <ac:chgData name="Ula Staigyte" userId="f6dd036f-ca91-4ba7-a32e-843cc9983a4c" providerId="ADAL" clId="{025139B8-0A69-4A45-9B3D-4ADF647C2763}" dt="2022-01-31T12:37:42.043" v="6532" actId="11529"/>
          <ac:cxnSpMkLst>
            <pc:docMk/>
            <pc:sldMk cId="2721759979" sldId="412"/>
            <ac:cxnSpMk id="45" creationId="{A7974988-04E3-48C4-98B9-0C4265603E23}"/>
          </ac:cxnSpMkLst>
        </pc:cxnChg>
        <pc:cxnChg chg="add">
          <ac:chgData name="Ula Staigyte" userId="f6dd036f-ca91-4ba7-a32e-843cc9983a4c" providerId="ADAL" clId="{025139B8-0A69-4A45-9B3D-4ADF647C2763}" dt="2022-01-31T12:37:50.558" v="6533" actId="11529"/>
          <ac:cxnSpMkLst>
            <pc:docMk/>
            <pc:sldMk cId="2721759979" sldId="412"/>
            <ac:cxnSpMk id="47" creationId="{ABF2F3AA-5941-4AEF-A116-C3B7E28757C0}"/>
          </ac:cxnSpMkLst>
        </pc:cxnChg>
      </pc:sldChg>
      <pc:sldChg chg="addSp delSp modSp new del mod ord">
        <pc:chgData name="Ula Staigyte" userId="f6dd036f-ca91-4ba7-a32e-843cc9983a4c" providerId="ADAL" clId="{025139B8-0A69-4A45-9B3D-4ADF647C2763}" dt="2022-02-01T12:32:12.442" v="9328" actId="47"/>
        <pc:sldMkLst>
          <pc:docMk/>
          <pc:sldMk cId="1154181663" sldId="413"/>
        </pc:sldMkLst>
        <pc:spChg chg="mod">
          <ac:chgData name="Ula Staigyte" userId="f6dd036f-ca91-4ba7-a32e-843cc9983a4c" providerId="ADAL" clId="{025139B8-0A69-4A45-9B3D-4ADF647C2763}" dt="2022-01-19T09:56:55.664" v="249" actId="20577"/>
          <ac:spMkLst>
            <pc:docMk/>
            <pc:sldMk cId="1154181663" sldId="413"/>
            <ac:spMk id="2" creationId="{E0C9C00B-0357-4C6F-8C8E-1E9002A7676E}"/>
          </ac:spMkLst>
        </pc:spChg>
        <pc:spChg chg="del">
          <ac:chgData name="Ula Staigyte" userId="f6dd036f-ca91-4ba7-a32e-843cc9983a4c" providerId="ADAL" clId="{025139B8-0A69-4A45-9B3D-4ADF647C2763}" dt="2022-01-25T14:23:23.187" v="3455" actId="478"/>
          <ac:spMkLst>
            <pc:docMk/>
            <pc:sldMk cId="1154181663" sldId="413"/>
            <ac:spMk id="3" creationId="{680F50F2-DA73-4939-B036-57559345EE35}"/>
          </ac:spMkLst>
        </pc:spChg>
        <pc:spChg chg="add mod">
          <ac:chgData name="Ula Staigyte" userId="f6dd036f-ca91-4ba7-a32e-843cc9983a4c" providerId="ADAL" clId="{025139B8-0A69-4A45-9B3D-4ADF647C2763}" dt="2022-01-19T09:57:27.611" v="263" actId="164"/>
          <ac:spMkLst>
            <pc:docMk/>
            <pc:sldMk cId="1154181663" sldId="413"/>
            <ac:spMk id="4" creationId="{0C4365E0-8AAD-4FC5-966A-86B76C527FB7}"/>
          </ac:spMkLst>
        </pc:spChg>
        <pc:spChg chg="add mod">
          <ac:chgData name="Ula Staigyte" userId="f6dd036f-ca91-4ba7-a32e-843cc9983a4c" providerId="ADAL" clId="{025139B8-0A69-4A45-9B3D-4ADF647C2763}" dt="2022-01-19T09:57:27.611" v="263" actId="164"/>
          <ac:spMkLst>
            <pc:docMk/>
            <pc:sldMk cId="1154181663" sldId="413"/>
            <ac:spMk id="5" creationId="{BBACD302-3BF7-4478-8E01-95490B46753E}"/>
          </ac:spMkLst>
        </pc:spChg>
        <pc:spChg chg="mod">
          <ac:chgData name="Ula Staigyte" userId="f6dd036f-ca91-4ba7-a32e-843cc9983a4c" providerId="ADAL" clId="{025139B8-0A69-4A45-9B3D-4ADF647C2763}" dt="2022-01-19T09:58:10.655" v="268"/>
          <ac:spMkLst>
            <pc:docMk/>
            <pc:sldMk cId="1154181663" sldId="413"/>
            <ac:spMk id="8" creationId="{DD48D5EE-BAEC-4549-92A8-77CA92E98D3F}"/>
          </ac:spMkLst>
        </pc:spChg>
        <pc:spChg chg="mod">
          <ac:chgData name="Ula Staigyte" userId="f6dd036f-ca91-4ba7-a32e-843cc9983a4c" providerId="ADAL" clId="{025139B8-0A69-4A45-9B3D-4ADF647C2763}" dt="2022-01-19T09:58:26.327" v="292" actId="20577"/>
          <ac:spMkLst>
            <pc:docMk/>
            <pc:sldMk cId="1154181663" sldId="413"/>
            <ac:spMk id="9" creationId="{D9AA54DD-E446-4E58-B9AA-197D519BF8D9}"/>
          </ac:spMkLst>
        </pc:spChg>
        <pc:spChg chg="del mod topLvl">
          <ac:chgData name="Ula Staigyte" userId="f6dd036f-ca91-4ba7-a32e-843cc9983a4c" providerId="ADAL" clId="{025139B8-0A69-4A45-9B3D-4ADF647C2763}" dt="2022-01-31T14:36:39.432" v="7204" actId="478"/>
          <ac:spMkLst>
            <pc:docMk/>
            <pc:sldMk cId="1154181663" sldId="413"/>
            <ac:spMk id="11" creationId="{791080F5-3792-4EF5-9D2F-9AC1EE05FF69}"/>
          </ac:spMkLst>
        </pc:spChg>
        <pc:spChg chg="del mod topLvl">
          <ac:chgData name="Ula Staigyte" userId="f6dd036f-ca91-4ba7-a32e-843cc9983a4c" providerId="ADAL" clId="{025139B8-0A69-4A45-9B3D-4ADF647C2763}" dt="2022-01-25T14:37:01.865" v="3933" actId="478"/>
          <ac:spMkLst>
            <pc:docMk/>
            <pc:sldMk cId="1154181663" sldId="413"/>
            <ac:spMk id="12" creationId="{A350F8C3-79D5-4A63-8EDB-6DE6C5736146}"/>
          </ac:spMkLst>
        </pc:spChg>
        <pc:spChg chg="del mod topLvl">
          <ac:chgData name="Ula Staigyte" userId="f6dd036f-ca91-4ba7-a32e-843cc9983a4c" providerId="ADAL" clId="{025139B8-0A69-4A45-9B3D-4ADF647C2763}" dt="2022-01-25T14:29:08.020" v="3582" actId="478"/>
          <ac:spMkLst>
            <pc:docMk/>
            <pc:sldMk cId="1154181663" sldId="413"/>
            <ac:spMk id="14" creationId="{D6FA5B20-71DE-45DA-9813-279CD0819B62}"/>
          </ac:spMkLst>
        </pc:spChg>
        <pc:spChg chg="del mod topLvl">
          <ac:chgData name="Ula Staigyte" userId="f6dd036f-ca91-4ba7-a32e-843cc9983a4c" providerId="ADAL" clId="{025139B8-0A69-4A45-9B3D-4ADF647C2763}" dt="2022-01-25T14:27:40.573" v="3524" actId="478"/>
          <ac:spMkLst>
            <pc:docMk/>
            <pc:sldMk cId="1154181663" sldId="413"/>
            <ac:spMk id="15" creationId="{25C0C4C2-4786-49D3-89B1-61966811E5B9}"/>
          </ac:spMkLst>
        </pc:spChg>
        <pc:spChg chg="del mod topLvl">
          <ac:chgData name="Ula Staigyte" userId="f6dd036f-ca91-4ba7-a32e-843cc9983a4c" providerId="ADAL" clId="{025139B8-0A69-4A45-9B3D-4ADF647C2763}" dt="2022-01-25T15:32:30.473" v="4607" actId="478"/>
          <ac:spMkLst>
            <pc:docMk/>
            <pc:sldMk cId="1154181663" sldId="413"/>
            <ac:spMk id="17" creationId="{602AA0DC-6014-4390-A58E-5C588BF1379D}"/>
          </ac:spMkLst>
        </pc:spChg>
        <pc:spChg chg="del mod topLvl">
          <ac:chgData name="Ula Staigyte" userId="f6dd036f-ca91-4ba7-a32e-843cc9983a4c" providerId="ADAL" clId="{025139B8-0A69-4A45-9B3D-4ADF647C2763}" dt="2022-01-25T14:38:11.315" v="3947" actId="478"/>
          <ac:spMkLst>
            <pc:docMk/>
            <pc:sldMk cId="1154181663" sldId="413"/>
            <ac:spMk id="18" creationId="{9EBD043A-7C1F-46C0-B87E-EB37E8A16ECC}"/>
          </ac:spMkLst>
        </pc:spChg>
        <pc:spChg chg="add del mod">
          <ac:chgData name="Ula Staigyte" userId="f6dd036f-ca91-4ba7-a32e-843cc9983a4c" providerId="ADAL" clId="{025139B8-0A69-4A45-9B3D-4ADF647C2763}" dt="2022-01-25T14:34:29.349" v="3741" actId="478"/>
          <ac:spMkLst>
            <pc:docMk/>
            <pc:sldMk cId="1154181663" sldId="413"/>
            <ac:spMk id="19" creationId="{5A066903-BDC4-451C-904A-68F800E24362}"/>
          </ac:spMkLst>
        </pc:spChg>
        <pc:spChg chg="add del mod">
          <ac:chgData name="Ula Staigyte" userId="f6dd036f-ca91-4ba7-a32e-843cc9983a4c" providerId="ADAL" clId="{025139B8-0A69-4A45-9B3D-4ADF647C2763}" dt="2022-01-25T14:37:17.219" v="3936" actId="478"/>
          <ac:spMkLst>
            <pc:docMk/>
            <pc:sldMk cId="1154181663" sldId="413"/>
            <ac:spMk id="20" creationId="{B98E04D5-5585-4DD5-8B61-77196C63DCF8}"/>
          </ac:spMkLst>
        </pc:spChg>
        <pc:spChg chg="add del mod">
          <ac:chgData name="Ula Staigyte" userId="f6dd036f-ca91-4ba7-a32e-843cc9983a4c" providerId="ADAL" clId="{025139B8-0A69-4A45-9B3D-4ADF647C2763}" dt="2022-01-25T14:23:47.310" v="3458" actId="478"/>
          <ac:spMkLst>
            <pc:docMk/>
            <pc:sldMk cId="1154181663" sldId="413"/>
            <ac:spMk id="21" creationId="{314CA457-B90C-4B59-B4F0-EDCF96C86730}"/>
          </ac:spMkLst>
        </pc:spChg>
        <pc:spChg chg="add del mod">
          <ac:chgData name="Ula Staigyte" userId="f6dd036f-ca91-4ba7-a32e-843cc9983a4c" providerId="ADAL" clId="{025139B8-0A69-4A45-9B3D-4ADF647C2763}" dt="2022-01-25T14:25:34.363" v="3474" actId="478"/>
          <ac:spMkLst>
            <pc:docMk/>
            <pc:sldMk cId="1154181663" sldId="413"/>
            <ac:spMk id="22" creationId="{1DCF02EE-8068-4C07-A9D9-38358C826A17}"/>
          </ac:spMkLst>
        </pc:spChg>
        <pc:spChg chg="add del mod">
          <ac:chgData name="Ula Staigyte" userId="f6dd036f-ca91-4ba7-a32e-843cc9983a4c" providerId="ADAL" clId="{025139B8-0A69-4A45-9B3D-4ADF647C2763}" dt="2022-01-25T14:38:19.215" v="3949" actId="478"/>
          <ac:spMkLst>
            <pc:docMk/>
            <pc:sldMk cId="1154181663" sldId="413"/>
            <ac:spMk id="23" creationId="{854DAD40-1560-41A5-ADA8-F33EFBC65045}"/>
          </ac:spMkLst>
        </pc:spChg>
        <pc:spChg chg="add del">
          <ac:chgData name="Ula Staigyte" userId="f6dd036f-ca91-4ba7-a32e-843cc9983a4c" providerId="ADAL" clId="{025139B8-0A69-4A45-9B3D-4ADF647C2763}" dt="2022-01-25T14:23:03.299" v="3447" actId="22"/>
          <ac:spMkLst>
            <pc:docMk/>
            <pc:sldMk cId="1154181663" sldId="413"/>
            <ac:spMk id="25" creationId="{08E14F99-0A22-41DE-B6B6-1A95329EE641}"/>
          </ac:spMkLst>
        </pc:spChg>
        <pc:spChg chg="add mod">
          <ac:chgData name="Ula Staigyte" userId="f6dd036f-ca91-4ba7-a32e-843cc9983a4c" providerId="ADAL" clId="{025139B8-0A69-4A45-9B3D-4ADF647C2763}" dt="2022-01-25T14:31:40.046" v="3608" actId="1076"/>
          <ac:spMkLst>
            <pc:docMk/>
            <pc:sldMk cId="1154181663" sldId="413"/>
            <ac:spMk id="26" creationId="{9495B3C9-3D3D-4D43-A9A4-0874ABC95448}"/>
          </ac:spMkLst>
        </pc:spChg>
        <pc:spChg chg="add mod">
          <ac:chgData name="Ula Staigyte" userId="f6dd036f-ca91-4ba7-a32e-843cc9983a4c" providerId="ADAL" clId="{025139B8-0A69-4A45-9B3D-4ADF647C2763}" dt="2022-01-25T14:31:48.246" v="3609" actId="1076"/>
          <ac:spMkLst>
            <pc:docMk/>
            <pc:sldMk cId="1154181663" sldId="413"/>
            <ac:spMk id="27" creationId="{5962DF4C-B6C3-4225-9685-F23A9423FD93}"/>
          </ac:spMkLst>
        </pc:spChg>
        <pc:spChg chg="add mod">
          <ac:chgData name="Ula Staigyte" userId="f6dd036f-ca91-4ba7-a32e-843cc9983a4c" providerId="ADAL" clId="{025139B8-0A69-4A45-9B3D-4ADF647C2763}" dt="2022-01-25T14:32:26.911" v="3622" actId="1076"/>
          <ac:spMkLst>
            <pc:docMk/>
            <pc:sldMk cId="1154181663" sldId="413"/>
            <ac:spMk id="28" creationId="{3E9A172D-D4D5-4AAB-B42A-53DE8913ACF7}"/>
          </ac:spMkLst>
        </pc:spChg>
        <pc:spChg chg="add mod">
          <ac:chgData name="Ula Staigyte" userId="f6dd036f-ca91-4ba7-a32e-843cc9983a4c" providerId="ADAL" clId="{025139B8-0A69-4A45-9B3D-4ADF647C2763}" dt="2022-01-25T14:36:26.276" v="3927" actId="1076"/>
          <ac:spMkLst>
            <pc:docMk/>
            <pc:sldMk cId="1154181663" sldId="413"/>
            <ac:spMk id="29" creationId="{B3CCDD49-533C-44E6-B346-6252CDED9D8C}"/>
          </ac:spMkLst>
        </pc:spChg>
        <pc:spChg chg="add mod">
          <ac:chgData name="Ula Staigyte" userId="f6dd036f-ca91-4ba7-a32e-843cc9983a4c" providerId="ADAL" clId="{025139B8-0A69-4A45-9B3D-4ADF647C2763}" dt="2022-01-25T14:36:06.586" v="3924" actId="14100"/>
          <ac:spMkLst>
            <pc:docMk/>
            <pc:sldMk cId="1154181663" sldId="413"/>
            <ac:spMk id="30" creationId="{59A68DC7-4C92-4D77-A17B-DF6EBA3FC590}"/>
          </ac:spMkLst>
        </pc:spChg>
        <pc:spChg chg="add mod">
          <ac:chgData name="Ula Staigyte" userId="f6dd036f-ca91-4ba7-a32e-843cc9983a4c" providerId="ADAL" clId="{025139B8-0A69-4A45-9B3D-4ADF647C2763}" dt="2022-01-25T14:34:19.879" v="3740" actId="20577"/>
          <ac:spMkLst>
            <pc:docMk/>
            <pc:sldMk cId="1154181663" sldId="413"/>
            <ac:spMk id="31" creationId="{F5F04972-B87E-4A4B-ADED-27B4889D5C4B}"/>
          </ac:spMkLst>
        </pc:spChg>
        <pc:spChg chg="add mod">
          <ac:chgData name="Ula Staigyte" userId="f6dd036f-ca91-4ba7-a32e-843cc9983a4c" providerId="ADAL" clId="{025139B8-0A69-4A45-9B3D-4ADF647C2763}" dt="2022-01-25T14:35:04.725" v="3793" actId="1076"/>
          <ac:spMkLst>
            <pc:docMk/>
            <pc:sldMk cId="1154181663" sldId="413"/>
            <ac:spMk id="32" creationId="{3E0B5645-595D-419A-8225-AC4363BCD915}"/>
          </ac:spMkLst>
        </pc:spChg>
        <pc:spChg chg="add del">
          <ac:chgData name="Ula Staigyte" userId="f6dd036f-ca91-4ba7-a32e-843cc9983a4c" providerId="ADAL" clId="{025139B8-0A69-4A45-9B3D-4ADF647C2763}" dt="2022-01-25T14:36:56.718" v="3931" actId="22"/>
          <ac:spMkLst>
            <pc:docMk/>
            <pc:sldMk cId="1154181663" sldId="413"/>
            <ac:spMk id="34" creationId="{09FA24CA-456D-4DF9-9246-7D25108E73AD}"/>
          </ac:spMkLst>
        </pc:spChg>
        <pc:grpChg chg="add del mod">
          <ac:chgData name="Ula Staigyte" userId="f6dd036f-ca91-4ba7-a32e-843cc9983a4c" providerId="ADAL" clId="{025139B8-0A69-4A45-9B3D-4ADF647C2763}" dt="2022-01-25T14:23:18.797" v="3454" actId="478"/>
          <ac:grpSpMkLst>
            <pc:docMk/>
            <pc:sldMk cId="1154181663" sldId="413"/>
            <ac:grpSpMk id="6" creationId="{CFE0BA60-3C03-45F1-AA19-A14EFC664946}"/>
          </ac:grpSpMkLst>
        </pc:grpChg>
        <pc:grpChg chg="add del mod">
          <ac:chgData name="Ula Staigyte" userId="f6dd036f-ca91-4ba7-a32e-843cc9983a4c" providerId="ADAL" clId="{025139B8-0A69-4A45-9B3D-4ADF647C2763}" dt="2022-01-25T14:25:32.048" v="3473" actId="478"/>
          <ac:grpSpMkLst>
            <pc:docMk/>
            <pc:sldMk cId="1154181663" sldId="413"/>
            <ac:grpSpMk id="7" creationId="{CDBA3466-3EC2-4DEB-AD4A-7697B2F45704}"/>
          </ac:grpSpMkLst>
        </pc:grpChg>
        <pc:grpChg chg="add del mod">
          <ac:chgData name="Ula Staigyte" userId="f6dd036f-ca91-4ba7-a32e-843cc9983a4c" providerId="ADAL" clId="{025139B8-0A69-4A45-9B3D-4ADF647C2763}" dt="2022-01-25T14:37:01.865" v="3933" actId="478"/>
          <ac:grpSpMkLst>
            <pc:docMk/>
            <pc:sldMk cId="1154181663" sldId="413"/>
            <ac:grpSpMk id="10" creationId="{AC769776-8F27-4873-98A6-987653A51D91}"/>
          </ac:grpSpMkLst>
        </pc:grpChg>
        <pc:grpChg chg="add del mod">
          <ac:chgData name="Ula Staigyte" userId="f6dd036f-ca91-4ba7-a32e-843cc9983a4c" providerId="ADAL" clId="{025139B8-0A69-4A45-9B3D-4ADF647C2763}" dt="2022-01-25T14:27:40.573" v="3524" actId="478"/>
          <ac:grpSpMkLst>
            <pc:docMk/>
            <pc:sldMk cId="1154181663" sldId="413"/>
            <ac:grpSpMk id="13" creationId="{7F01F7AB-2A89-4D4A-B443-7C11007AC769}"/>
          </ac:grpSpMkLst>
        </pc:grpChg>
        <pc:grpChg chg="add del mod">
          <ac:chgData name="Ula Staigyte" userId="f6dd036f-ca91-4ba7-a32e-843cc9983a4c" providerId="ADAL" clId="{025139B8-0A69-4A45-9B3D-4ADF647C2763}" dt="2022-01-25T14:38:11.315" v="3947" actId="478"/>
          <ac:grpSpMkLst>
            <pc:docMk/>
            <pc:sldMk cId="1154181663" sldId="413"/>
            <ac:grpSpMk id="16" creationId="{53BD0FB7-24E9-498A-8DC0-F088B1EBE204}"/>
          </ac:grpSpMkLst>
        </pc:grpChg>
        <pc:picChg chg="add mod">
          <ac:chgData name="Ula Staigyte" userId="f6dd036f-ca91-4ba7-a32e-843cc9983a4c" providerId="ADAL" clId="{025139B8-0A69-4A45-9B3D-4ADF647C2763}" dt="2022-01-28T13:20:49.494" v="5582"/>
          <ac:picMkLst>
            <pc:docMk/>
            <pc:sldMk cId="1154181663" sldId="413"/>
            <ac:picMk id="12" creationId="{A33A9F2C-08BB-4FCA-9F3B-D15E39FE9C9D}"/>
          </ac:picMkLst>
        </pc:picChg>
      </pc:sldChg>
      <pc:sldChg chg="addSp delSp modSp new mod ord addCm delCm modCm">
        <pc:chgData name="Ula Staigyte" userId="f6dd036f-ca91-4ba7-a32e-843cc9983a4c" providerId="ADAL" clId="{025139B8-0A69-4A45-9B3D-4ADF647C2763}" dt="2022-02-08T19:28:04.163" v="18209" actId="20577"/>
        <pc:sldMkLst>
          <pc:docMk/>
          <pc:sldMk cId="225908405" sldId="414"/>
        </pc:sldMkLst>
        <pc:spChg chg="mod">
          <ac:chgData name="Ula Staigyte" userId="f6dd036f-ca91-4ba7-a32e-843cc9983a4c" providerId="ADAL" clId="{025139B8-0A69-4A45-9B3D-4ADF647C2763}" dt="2022-01-25T15:36:26.774" v="4622" actId="20577"/>
          <ac:spMkLst>
            <pc:docMk/>
            <pc:sldMk cId="225908405" sldId="414"/>
            <ac:spMk id="2" creationId="{E1EF8EFD-2A7F-45DB-9C64-48F1A4ACE93F}"/>
          </ac:spMkLst>
        </pc:spChg>
        <pc:spChg chg="del">
          <ac:chgData name="Ula Staigyte" userId="f6dd036f-ca91-4ba7-a32e-843cc9983a4c" providerId="ADAL" clId="{025139B8-0A69-4A45-9B3D-4ADF647C2763}" dt="2022-01-25T15:36:18.348" v="4614" actId="478"/>
          <ac:spMkLst>
            <pc:docMk/>
            <pc:sldMk cId="225908405" sldId="414"/>
            <ac:spMk id="3" creationId="{B3CEFE9C-E61A-4DB4-91A5-1CAE18145EB5}"/>
          </ac:spMkLst>
        </pc:spChg>
        <pc:spChg chg="add mod ord">
          <ac:chgData name="Ula Staigyte" userId="f6dd036f-ca91-4ba7-a32e-843cc9983a4c" providerId="ADAL" clId="{025139B8-0A69-4A45-9B3D-4ADF647C2763}" dt="2022-02-02T07:31:54.603" v="12791" actId="14100"/>
          <ac:spMkLst>
            <pc:docMk/>
            <pc:sldMk cId="225908405" sldId="414"/>
            <ac:spMk id="3" creationId="{E428E3A0-A489-4B4F-AAF8-C6E83346B9A5}"/>
          </ac:spMkLst>
        </pc:spChg>
        <pc:spChg chg="add mod ord">
          <ac:chgData name="Ula Staigyte" userId="f6dd036f-ca91-4ba7-a32e-843cc9983a4c" providerId="ADAL" clId="{025139B8-0A69-4A45-9B3D-4ADF647C2763}" dt="2022-02-03T14:36:19.303" v="16680" actId="1076"/>
          <ac:spMkLst>
            <pc:docMk/>
            <pc:sldMk cId="225908405" sldId="414"/>
            <ac:spMk id="4" creationId="{466B17C6-1466-4747-A07E-802521602C86}"/>
          </ac:spMkLst>
        </pc:spChg>
        <pc:spChg chg="add del mod">
          <ac:chgData name="Ula Staigyte" userId="f6dd036f-ca91-4ba7-a32e-843cc9983a4c" providerId="ADAL" clId="{025139B8-0A69-4A45-9B3D-4ADF647C2763}" dt="2022-01-28T13:03:36.602" v="5093" actId="478"/>
          <ac:spMkLst>
            <pc:docMk/>
            <pc:sldMk cId="225908405" sldId="414"/>
            <ac:spMk id="4" creationId="{FF3750FA-F133-435E-9651-202837C21F59}"/>
          </ac:spMkLst>
        </pc:spChg>
        <pc:spChg chg="mod">
          <ac:chgData name="Ula Staigyte" userId="f6dd036f-ca91-4ba7-a32e-843cc9983a4c" providerId="ADAL" clId="{025139B8-0A69-4A45-9B3D-4ADF647C2763}" dt="2022-01-25T15:36:21.085" v="4615"/>
          <ac:spMkLst>
            <pc:docMk/>
            <pc:sldMk cId="225908405" sldId="414"/>
            <ac:spMk id="5" creationId="{6AC7C082-22BD-4F72-8094-4D958FDA664F}"/>
          </ac:spMkLst>
        </pc:spChg>
        <pc:spChg chg="mod">
          <ac:chgData name="Ula Staigyte" userId="f6dd036f-ca91-4ba7-a32e-843cc9983a4c" providerId="ADAL" clId="{025139B8-0A69-4A45-9B3D-4ADF647C2763}" dt="2022-01-25T15:36:21.085" v="4615"/>
          <ac:spMkLst>
            <pc:docMk/>
            <pc:sldMk cId="225908405" sldId="414"/>
            <ac:spMk id="6" creationId="{F5035414-7785-427C-B785-AC30EA0C1683}"/>
          </ac:spMkLst>
        </pc:spChg>
        <pc:spChg chg="add del mod">
          <ac:chgData name="Ula Staigyte" userId="f6dd036f-ca91-4ba7-a32e-843cc9983a4c" providerId="ADAL" clId="{025139B8-0A69-4A45-9B3D-4ADF647C2763}" dt="2022-01-27T15:43:25.530" v="4639" actId="478"/>
          <ac:spMkLst>
            <pc:docMk/>
            <pc:sldMk cId="225908405" sldId="414"/>
            <ac:spMk id="7" creationId="{331681F8-20C3-4F51-9AD7-B49B82CA08B3}"/>
          </ac:spMkLst>
        </pc:spChg>
        <pc:spChg chg="add del mod">
          <ac:chgData name="Ula Staigyte" userId="f6dd036f-ca91-4ba7-a32e-843cc9983a4c" providerId="ADAL" clId="{025139B8-0A69-4A45-9B3D-4ADF647C2763}" dt="2022-01-27T15:43:24.819" v="4638" actId="478"/>
          <ac:spMkLst>
            <pc:docMk/>
            <pc:sldMk cId="225908405" sldId="414"/>
            <ac:spMk id="8" creationId="{D6B03FAF-899B-43C4-9FB0-4A8481CF71F8}"/>
          </ac:spMkLst>
        </pc:spChg>
        <pc:spChg chg="mod">
          <ac:chgData name="Ula Staigyte" userId="f6dd036f-ca91-4ba7-a32e-843cc9983a4c" providerId="ADAL" clId="{025139B8-0A69-4A45-9B3D-4ADF647C2763}" dt="2022-02-01T14:46:34.722" v="11657" actId="14100"/>
          <ac:spMkLst>
            <pc:docMk/>
            <pc:sldMk cId="225908405" sldId="414"/>
            <ac:spMk id="11" creationId="{39CE4C60-6C27-48B4-9768-3A6AE3DB2435}"/>
          </ac:spMkLst>
        </pc:spChg>
        <pc:spChg chg="mod">
          <ac:chgData name="Ula Staigyte" userId="f6dd036f-ca91-4ba7-a32e-843cc9983a4c" providerId="ADAL" clId="{025139B8-0A69-4A45-9B3D-4ADF647C2763}" dt="2022-02-01T14:46:21.505" v="11654" actId="1076"/>
          <ac:spMkLst>
            <pc:docMk/>
            <pc:sldMk cId="225908405" sldId="414"/>
            <ac:spMk id="12" creationId="{34E6A29F-6FF1-43B8-9F80-7F251245237D}"/>
          </ac:spMkLst>
        </pc:spChg>
        <pc:spChg chg="mod">
          <ac:chgData name="Ula Staigyte" userId="f6dd036f-ca91-4ba7-a32e-843cc9983a4c" providerId="ADAL" clId="{025139B8-0A69-4A45-9B3D-4ADF647C2763}" dt="2022-02-03T14:34:07.372" v="16664" actId="123"/>
          <ac:spMkLst>
            <pc:docMk/>
            <pc:sldMk cId="225908405" sldId="414"/>
            <ac:spMk id="13" creationId="{173EA8D5-F8FF-4144-80BB-ECC501F815D8}"/>
          </ac:spMkLst>
        </pc:spChg>
        <pc:spChg chg="mod">
          <ac:chgData name="Ula Staigyte" userId="f6dd036f-ca91-4ba7-a32e-843cc9983a4c" providerId="ADAL" clId="{025139B8-0A69-4A45-9B3D-4ADF647C2763}" dt="2022-02-03T14:34:05.092" v="16663" actId="123"/>
          <ac:spMkLst>
            <pc:docMk/>
            <pc:sldMk cId="225908405" sldId="414"/>
            <ac:spMk id="14" creationId="{94C377F0-C9C1-4018-969E-5550ECB2EE17}"/>
          </ac:spMkLst>
        </pc:spChg>
        <pc:spChg chg="mod">
          <ac:chgData name="Ula Staigyte" userId="f6dd036f-ca91-4ba7-a32e-843cc9983a4c" providerId="ADAL" clId="{025139B8-0A69-4A45-9B3D-4ADF647C2763}" dt="2022-01-27T15:43:21.171" v="4636"/>
          <ac:spMkLst>
            <pc:docMk/>
            <pc:sldMk cId="225908405" sldId="414"/>
            <ac:spMk id="15" creationId="{4506B405-7F05-4ABC-B27C-D0204AB8EB9D}"/>
          </ac:spMkLst>
        </pc:spChg>
        <pc:spChg chg="mod">
          <ac:chgData name="Ula Staigyte" userId="f6dd036f-ca91-4ba7-a32e-843cc9983a4c" providerId="ADAL" clId="{025139B8-0A69-4A45-9B3D-4ADF647C2763}" dt="2022-01-27T15:43:21.171" v="4636"/>
          <ac:spMkLst>
            <pc:docMk/>
            <pc:sldMk cId="225908405" sldId="414"/>
            <ac:spMk id="16" creationId="{7CB857E6-799F-4472-8488-44581263997C}"/>
          </ac:spMkLst>
        </pc:spChg>
        <pc:spChg chg="add del mod">
          <ac:chgData name="Ula Staigyte" userId="f6dd036f-ca91-4ba7-a32e-843cc9983a4c" providerId="ADAL" clId="{025139B8-0A69-4A45-9B3D-4ADF647C2763}" dt="2022-01-27T15:54:21.248" v="4679"/>
          <ac:spMkLst>
            <pc:docMk/>
            <pc:sldMk cId="225908405" sldId="414"/>
            <ac:spMk id="17" creationId="{D1580F73-62C0-47C1-B4EA-A2BD88116867}"/>
          </ac:spMkLst>
        </pc:spChg>
        <pc:spChg chg="add del">
          <ac:chgData name="Ula Staigyte" userId="f6dd036f-ca91-4ba7-a32e-843cc9983a4c" providerId="ADAL" clId="{025139B8-0A69-4A45-9B3D-4ADF647C2763}" dt="2022-01-27T15:54:21.239" v="4677" actId="22"/>
          <ac:spMkLst>
            <pc:docMk/>
            <pc:sldMk cId="225908405" sldId="414"/>
            <ac:spMk id="19" creationId="{1D92C4B6-879B-4827-AE64-68CE98FD2C3D}"/>
          </ac:spMkLst>
        </pc:spChg>
        <pc:spChg chg="mod">
          <ac:chgData name="Ula Staigyte" userId="f6dd036f-ca91-4ba7-a32e-843cc9983a4c" providerId="ADAL" clId="{025139B8-0A69-4A45-9B3D-4ADF647C2763}" dt="2022-02-02T08:28:34.779" v="13449" actId="20577"/>
          <ac:spMkLst>
            <pc:docMk/>
            <pc:sldMk cId="225908405" sldId="414"/>
            <ac:spMk id="21" creationId="{280C94D4-F20F-47E7-BF12-28D49CD82220}"/>
          </ac:spMkLst>
        </pc:spChg>
        <pc:spChg chg="mod">
          <ac:chgData name="Ula Staigyte" userId="f6dd036f-ca91-4ba7-a32e-843cc9983a4c" providerId="ADAL" clId="{025139B8-0A69-4A45-9B3D-4ADF647C2763}" dt="2022-01-27T16:01:49.905" v="4702"/>
          <ac:spMkLst>
            <pc:docMk/>
            <pc:sldMk cId="225908405" sldId="414"/>
            <ac:spMk id="22" creationId="{18BE8302-3D42-45C2-AFF4-7E6F8841CA16}"/>
          </ac:spMkLst>
        </pc:spChg>
        <pc:spChg chg="add mod ord">
          <ac:chgData name="Ula Staigyte" userId="f6dd036f-ca91-4ba7-a32e-843cc9983a4c" providerId="ADAL" clId="{025139B8-0A69-4A45-9B3D-4ADF647C2763}" dt="2022-02-03T19:07:10.170" v="16918" actId="166"/>
          <ac:spMkLst>
            <pc:docMk/>
            <pc:sldMk cId="225908405" sldId="414"/>
            <ac:spMk id="23" creationId="{4CD56687-9A16-4566-AC18-2390024D7AAF}"/>
          </ac:spMkLst>
        </pc:spChg>
        <pc:spChg chg="add mod">
          <ac:chgData name="Ula Staigyte" userId="f6dd036f-ca91-4ba7-a32e-843cc9983a4c" providerId="ADAL" clId="{025139B8-0A69-4A45-9B3D-4ADF647C2763}" dt="2022-02-03T19:07:17.784" v="16919" actId="1076"/>
          <ac:spMkLst>
            <pc:docMk/>
            <pc:sldMk cId="225908405" sldId="414"/>
            <ac:spMk id="24" creationId="{4D21C0D7-560D-4F02-B72F-34734D75DC6E}"/>
          </ac:spMkLst>
        </pc:spChg>
        <pc:spChg chg="mod">
          <ac:chgData name="Ula Staigyte" userId="f6dd036f-ca91-4ba7-a32e-843cc9983a4c" providerId="ADAL" clId="{025139B8-0A69-4A45-9B3D-4ADF647C2763}" dt="2022-01-28T12:50:07.340" v="4898"/>
          <ac:spMkLst>
            <pc:docMk/>
            <pc:sldMk cId="225908405" sldId="414"/>
            <ac:spMk id="25" creationId="{19AD9000-7D88-4E11-AC59-D8E964BB8AF5}"/>
          </ac:spMkLst>
        </pc:spChg>
        <pc:spChg chg="mod topLvl">
          <ac:chgData name="Ula Staigyte" userId="f6dd036f-ca91-4ba7-a32e-843cc9983a4c" providerId="ADAL" clId="{025139B8-0A69-4A45-9B3D-4ADF647C2763}" dt="2022-02-03T14:35:41.966" v="16672" actId="14100"/>
          <ac:spMkLst>
            <pc:docMk/>
            <pc:sldMk cId="225908405" sldId="414"/>
            <ac:spMk id="26" creationId="{6B26A202-F906-41F2-804C-1CBCF6974237}"/>
          </ac:spMkLst>
        </pc:spChg>
        <pc:spChg chg="mod">
          <ac:chgData name="Ula Staigyte" userId="f6dd036f-ca91-4ba7-a32e-843cc9983a4c" providerId="ADAL" clId="{025139B8-0A69-4A45-9B3D-4ADF647C2763}" dt="2022-01-28T12:50:07.340" v="4898"/>
          <ac:spMkLst>
            <pc:docMk/>
            <pc:sldMk cId="225908405" sldId="414"/>
            <ac:spMk id="27" creationId="{0DE64870-35E4-4043-9D2E-329CB8692029}"/>
          </ac:spMkLst>
        </pc:spChg>
        <pc:spChg chg="del mod topLvl">
          <ac:chgData name="Ula Staigyte" userId="f6dd036f-ca91-4ba7-a32e-843cc9983a4c" providerId="ADAL" clId="{025139B8-0A69-4A45-9B3D-4ADF647C2763}" dt="2022-01-27T16:02:44.991" v="4713" actId="478"/>
          <ac:spMkLst>
            <pc:docMk/>
            <pc:sldMk cId="225908405" sldId="414"/>
            <ac:spMk id="27" creationId="{74F2804B-9FC8-4019-8916-04D34A1B0F4A}"/>
          </ac:spMkLst>
        </pc:spChg>
        <pc:spChg chg="add mod">
          <ac:chgData name="Ula Staigyte" userId="f6dd036f-ca91-4ba7-a32e-843cc9983a4c" providerId="ADAL" clId="{025139B8-0A69-4A45-9B3D-4ADF647C2763}" dt="2022-02-08T19:21:41.372" v="18096" actId="1076"/>
          <ac:spMkLst>
            <pc:docMk/>
            <pc:sldMk cId="225908405" sldId="414"/>
            <ac:spMk id="28" creationId="{B1505AF4-5421-49EB-9529-944ECCB731AC}"/>
          </ac:spMkLst>
        </pc:spChg>
        <pc:spChg chg="add mod">
          <ac:chgData name="Ula Staigyte" userId="f6dd036f-ca91-4ba7-a32e-843cc9983a4c" providerId="ADAL" clId="{025139B8-0A69-4A45-9B3D-4ADF647C2763}" dt="2022-02-03T14:35:30.617" v="16670" actId="1076"/>
          <ac:spMkLst>
            <pc:docMk/>
            <pc:sldMk cId="225908405" sldId="414"/>
            <ac:spMk id="29" creationId="{55ED7F29-BD70-4DAC-BBEB-233F69BADD74}"/>
          </ac:spMkLst>
        </pc:spChg>
        <pc:spChg chg="add mod">
          <ac:chgData name="Ula Staigyte" userId="f6dd036f-ca91-4ba7-a32e-843cc9983a4c" providerId="ADAL" clId="{025139B8-0A69-4A45-9B3D-4ADF647C2763}" dt="2022-02-01T14:59:40.925" v="11823" actId="14100"/>
          <ac:spMkLst>
            <pc:docMk/>
            <pc:sldMk cId="225908405" sldId="414"/>
            <ac:spMk id="30" creationId="{6FABF4C2-5F52-4837-B6C1-F1A106E58FB6}"/>
          </ac:spMkLst>
        </pc:spChg>
        <pc:spChg chg="add mod">
          <ac:chgData name="Ula Staigyte" userId="f6dd036f-ca91-4ba7-a32e-843cc9983a4c" providerId="ADAL" clId="{025139B8-0A69-4A45-9B3D-4ADF647C2763}" dt="2022-02-01T14:45:45.243" v="11649" actId="14100"/>
          <ac:spMkLst>
            <pc:docMk/>
            <pc:sldMk cId="225908405" sldId="414"/>
            <ac:spMk id="31" creationId="{16C81E19-8D35-41BE-8A89-AB987DFB23C0}"/>
          </ac:spMkLst>
        </pc:spChg>
        <pc:spChg chg="add del mod">
          <ac:chgData name="Ula Staigyte" userId="f6dd036f-ca91-4ba7-a32e-843cc9983a4c" providerId="ADAL" clId="{025139B8-0A69-4A45-9B3D-4ADF647C2763}" dt="2022-01-28T13:03:31.426" v="5092" actId="478"/>
          <ac:spMkLst>
            <pc:docMk/>
            <pc:sldMk cId="225908405" sldId="414"/>
            <ac:spMk id="31" creationId="{F3D39DFA-F1A6-4BAA-8507-26345C80EA3F}"/>
          </ac:spMkLst>
        </pc:spChg>
        <pc:spChg chg="add mod">
          <ac:chgData name="Ula Staigyte" userId="f6dd036f-ca91-4ba7-a32e-843cc9983a4c" providerId="ADAL" clId="{025139B8-0A69-4A45-9B3D-4ADF647C2763}" dt="2022-02-01T14:45:29.985" v="11647" actId="1076"/>
          <ac:spMkLst>
            <pc:docMk/>
            <pc:sldMk cId="225908405" sldId="414"/>
            <ac:spMk id="32" creationId="{E0407C3F-7A9D-4F31-AB7F-25255CB7107C}"/>
          </ac:spMkLst>
        </pc:spChg>
        <pc:spChg chg="add del mod">
          <ac:chgData name="Ula Staigyte" userId="f6dd036f-ca91-4ba7-a32e-843cc9983a4c" providerId="ADAL" clId="{025139B8-0A69-4A45-9B3D-4ADF647C2763}" dt="2022-02-01T14:42:36.633" v="11627" actId="478"/>
          <ac:spMkLst>
            <pc:docMk/>
            <pc:sldMk cId="225908405" sldId="414"/>
            <ac:spMk id="33" creationId="{5D6DC34F-D9DC-46F3-8210-B6486F12A728}"/>
          </ac:spMkLst>
        </pc:spChg>
        <pc:spChg chg="add mod">
          <ac:chgData name="Ula Staigyte" userId="f6dd036f-ca91-4ba7-a32e-843cc9983a4c" providerId="ADAL" clId="{025139B8-0A69-4A45-9B3D-4ADF647C2763}" dt="2022-02-03T14:34:30.815" v="16665" actId="123"/>
          <ac:spMkLst>
            <pc:docMk/>
            <pc:sldMk cId="225908405" sldId="414"/>
            <ac:spMk id="34" creationId="{5ADBD6A1-A4D7-44C5-877F-7894549A1C92}"/>
          </ac:spMkLst>
        </pc:spChg>
        <pc:spChg chg="add del mod">
          <ac:chgData name="Ula Staigyte" userId="f6dd036f-ca91-4ba7-a32e-843cc9983a4c" providerId="ADAL" clId="{025139B8-0A69-4A45-9B3D-4ADF647C2763}" dt="2022-01-28T13:03:30.620" v="5091" actId="478"/>
          <ac:spMkLst>
            <pc:docMk/>
            <pc:sldMk cId="225908405" sldId="414"/>
            <ac:spMk id="35" creationId="{636AFF84-8270-4508-81AD-709C8C36A0DD}"/>
          </ac:spMkLst>
        </pc:spChg>
        <pc:spChg chg="add mod">
          <ac:chgData name="Ula Staigyte" userId="f6dd036f-ca91-4ba7-a32e-843cc9983a4c" providerId="ADAL" clId="{025139B8-0A69-4A45-9B3D-4ADF647C2763}" dt="2022-02-01T14:45:20.472" v="11646" actId="1076"/>
          <ac:spMkLst>
            <pc:docMk/>
            <pc:sldMk cId="225908405" sldId="414"/>
            <ac:spMk id="35" creationId="{7D2C8B7C-A92D-44EF-8D6F-080820B3FDE5}"/>
          </ac:spMkLst>
        </pc:spChg>
        <pc:spChg chg="add mod">
          <ac:chgData name="Ula Staigyte" userId="f6dd036f-ca91-4ba7-a32e-843cc9983a4c" providerId="ADAL" clId="{025139B8-0A69-4A45-9B3D-4ADF647C2763}" dt="2022-02-03T14:34:36.658" v="16667" actId="123"/>
          <ac:spMkLst>
            <pc:docMk/>
            <pc:sldMk cId="225908405" sldId="414"/>
            <ac:spMk id="36" creationId="{914DB651-3BCC-46DC-9FA5-95AF80D488E6}"/>
          </ac:spMkLst>
        </pc:spChg>
        <pc:spChg chg="add mod">
          <ac:chgData name="Ula Staigyte" userId="f6dd036f-ca91-4ba7-a32e-843cc9983a4c" providerId="ADAL" clId="{025139B8-0A69-4A45-9B3D-4ADF647C2763}" dt="2022-02-03T14:34:39.079" v="16668" actId="123"/>
          <ac:spMkLst>
            <pc:docMk/>
            <pc:sldMk cId="225908405" sldId="414"/>
            <ac:spMk id="37" creationId="{391BCBCB-A9D1-4567-83DB-8DEE3DC001FE}"/>
          </ac:spMkLst>
        </pc:spChg>
        <pc:spChg chg="add mod">
          <ac:chgData name="Ula Staigyte" userId="f6dd036f-ca91-4ba7-a32e-843cc9983a4c" providerId="ADAL" clId="{025139B8-0A69-4A45-9B3D-4ADF647C2763}" dt="2022-02-08T17:31:52.569" v="17847" actId="20577"/>
          <ac:spMkLst>
            <pc:docMk/>
            <pc:sldMk cId="225908405" sldId="414"/>
            <ac:spMk id="38" creationId="{9DFEA74F-4E1C-433E-BDE2-5C0D97DC33A2}"/>
          </ac:spMkLst>
        </pc:spChg>
        <pc:spChg chg="add mod">
          <ac:chgData name="Ula Staigyte" userId="f6dd036f-ca91-4ba7-a32e-843cc9983a4c" providerId="ADAL" clId="{025139B8-0A69-4A45-9B3D-4ADF647C2763}" dt="2022-02-03T19:06:28.142" v="16915" actId="1076"/>
          <ac:spMkLst>
            <pc:docMk/>
            <pc:sldMk cId="225908405" sldId="414"/>
            <ac:spMk id="39" creationId="{4A3D319B-EEDB-4BFB-9084-CE3B1CDE58C3}"/>
          </ac:spMkLst>
        </pc:spChg>
        <pc:spChg chg="add mod">
          <ac:chgData name="Ula Staigyte" userId="f6dd036f-ca91-4ba7-a32e-843cc9983a4c" providerId="ADAL" clId="{025139B8-0A69-4A45-9B3D-4ADF647C2763}" dt="2022-02-08T19:28:04.163" v="18209" actId="20577"/>
          <ac:spMkLst>
            <pc:docMk/>
            <pc:sldMk cId="225908405" sldId="414"/>
            <ac:spMk id="40" creationId="{B22E612E-6774-47D9-AB73-87F1406B5783}"/>
          </ac:spMkLst>
        </pc:spChg>
        <pc:grpChg chg="add del mod">
          <ac:chgData name="Ula Staigyte" userId="f6dd036f-ca91-4ba7-a32e-843cc9983a4c" providerId="ADAL" clId="{025139B8-0A69-4A45-9B3D-4ADF647C2763}" dt="2022-01-27T15:43:26.187" v="4640" actId="478"/>
          <ac:grpSpMkLst>
            <pc:docMk/>
            <pc:sldMk cId="225908405" sldId="414"/>
            <ac:grpSpMk id="4" creationId="{BA896EFE-5680-4DA1-8B3D-84C424812BA4}"/>
          </ac:grpSpMkLst>
        </pc:grpChg>
        <pc:grpChg chg="add mod">
          <ac:chgData name="Ula Staigyte" userId="f6dd036f-ca91-4ba7-a32e-843cc9983a4c" providerId="ADAL" clId="{025139B8-0A69-4A45-9B3D-4ADF647C2763}" dt="2022-01-27T15:43:29.768" v="4641" actId="1076"/>
          <ac:grpSpMkLst>
            <pc:docMk/>
            <pc:sldMk cId="225908405" sldId="414"/>
            <ac:grpSpMk id="9" creationId="{08B7D57F-18B1-4010-95E6-E5634A95C8F1}"/>
          </ac:grpSpMkLst>
        </pc:grpChg>
        <pc:grpChg chg="mod">
          <ac:chgData name="Ula Staigyte" userId="f6dd036f-ca91-4ba7-a32e-843cc9983a4c" providerId="ADAL" clId="{025139B8-0A69-4A45-9B3D-4ADF647C2763}" dt="2022-01-27T15:43:21.171" v="4636"/>
          <ac:grpSpMkLst>
            <pc:docMk/>
            <pc:sldMk cId="225908405" sldId="414"/>
            <ac:grpSpMk id="10" creationId="{7E23AC6C-320B-49BB-9010-9660057482C1}"/>
          </ac:grpSpMkLst>
        </pc:grpChg>
        <pc:grpChg chg="add mod">
          <ac:chgData name="Ula Staigyte" userId="f6dd036f-ca91-4ba7-a32e-843cc9983a4c" providerId="ADAL" clId="{025139B8-0A69-4A45-9B3D-4ADF647C2763}" dt="2022-02-01T14:46:07.172" v="11652" actId="1076"/>
          <ac:grpSpMkLst>
            <pc:docMk/>
            <pc:sldMk cId="225908405" sldId="414"/>
            <ac:grpSpMk id="19" creationId="{FA1C595D-1230-4A3D-BA0B-F44CE883DCD7}"/>
          </ac:grpSpMkLst>
        </pc:grpChg>
        <pc:grpChg chg="add mod">
          <ac:chgData name="Ula Staigyte" userId="f6dd036f-ca91-4ba7-a32e-843cc9983a4c" providerId="ADAL" clId="{025139B8-0A69-4A45-9B3D-4ADF647C2763}" dt="2022-02-03T14:35:24.239" v="16669" actId="14100"/>
          <ac:grpSpMkLst>
            <pc:docMk/>
            <pc:sldMk cId="225908405" sldId="414"/>
            <ac:grpSpMk id="20" creationId="{FEE7D3A8-BA0B-4D33-9C6E-E162ED5B0362}"/>
          </ac:grpSpMkLst>
        </pc:grpChg>
        <pc:grpChg chg="add del mod">
          <ac:chgData name="Ula Staigyte" userId="f6dd036f-ca91-4ba7-a32e-843cc9983a4c" providerId="ADAL" clId="{025139B8-0A69-4A45-9B3D-4ADF647C2763}" dt="2022-01-27T16:02:44.991" v="4713" actId="478"/>
          <ac:grpSpMkLst>
            <pc:docMk/>
            <pc:sldMk cId="225908405" sldId="414"/>
            <ac:grpSpMk id="25" creationId="{1350CA2B-B27C-4FDB-BE52-A3DD78B43858}"/>
          </ac:grpSpMkLst>
        </pc:grpChg>
        <pc:picChg chg="add mod">
          <ac:chgData name="Ula Staigyte" userId="f6dd036f-ca91-4ba7-a32e-843cc9983a4c" providerId="ADAL" clId="{025139B8-0A69-4A45-9B3D-4ADF647C2763}" dt="2022-01-28T13:19:35.600" v="5576" actId="1076"/>
          <ac:picMkLst>
            <pc:docMk/>
            <pc:sldMk cId="225908405" sldId="414"/>
            <ac:picMk id="5" creationId="{0B6E8AEA-FF7A-4563-BF7F-44E4A5DEE908}"/>
          </ac:picMkLst>
        </pc:picChg>
      </pc:sldChg>
      <pc:sldChg chg="addSp delSp modSp new mod addCm delCm modCm">
        <pc:chgData name="Ula Staigyte" userId="f6dd036f-ca91-4ba7-a32e-843cc9983a4c" providerId="ADAL" clId="{025139B8-0A69-4A45-9B3D-4ADF647C2763}" dt="2022-02-08T19:26:37.041" v="18158" actId="20577"/>
        <pc:sldMkLst>
          <pc:docMk/>
          <pc:sldMk cId="3921774358" sldId="415"/>
        </pc:sldMkLst>
        <pc:spChg chg="mod">
          <ac:chgData name="Ula Staigyte" userId="f6dd036f-ca91-4ba7-a32e-843cc9983a4c" providerId="ADAL" clId="{025139B8-0A69-4A45-9B3D-4ADF647C2763}" dt="2022-01-25T12:58:44.511" v="2741" actId="20577"/>
          <ac:spMkLst>
            <pc:docMk/>
            <pc:sldMk cId="3921774358" sldId="415"/>
            <ac:spMk id="2" creationId="{BFB04A5A-CE56-40E2-A761-4E5B7491DFD2}"/>
          </ac:spMkLst>
        </pc:spChg>
        <pc:spChg chg="del">
          <ac:chgData name="Ula Staigyte" userId="f6dd036f-ca91-4ba7-a32e-843cc9983a4c" providerId="ADAL" clId="{025139B8-0A69-4A45-9B3D-4ADF647C2763}" dt="2022-01-24T12:47:16.577" v="1740"/>
          <ac:spMkLst>
            <pc:docMk/>
            <pc:sldMk cId="3921774358" sldId="415"/>
            <ac:spMk id="3" creationId="{62BAD841-9536-479F-A88C-3E58F22755EF}"/>
          </ac:spMkLst>
        </pc:spChg>
        <pc:spChg chg="add mod">
          <ac:chgData name="Ula Staigyte" userId="f6dd036f-ca91-4ba7-a32e-843cc9983a4c" providerId="ADAL" clId="{025139B8-0A69-4A45-9B3D-4ADF647C2763}" dt="2022-02-03T14:30:39.138" v="16640" actId="123"/>
          <ac:spMkLst>
            <pc:docMk/>
            <pc:sldMk cId="3921774358" sldId="415"/>
            <ac:spMk id="3" creationId="{89BDAEB1-D98C-4B24-ACFA-EFC81503D20B}"/>
          </ac:spMkLst>
        </pc:spChg>
        <pc:spChg chg="mod">
          <ac:chgData name="Ula Staigyte" userId="f6dd036f-ca91-4ba7-a32e-843cc9983a4c" providerId="ADAL" clId="{025139B8-0A69-4A45-9B3D-4ADF647C2763}" dt="2022-01-24T12:46:22.268" v="1714"/>
          <ac:spMkLst>
            <pc:docMk/>
            <pc:sldMk cId="3921774358" sldId="415"/>
            <ac:spMk id="5" creationId="{04FF4E32-E8BB-4521-835E-00F4FA1BF6DD}"/>
          </ac:spMkLst>
        </pc:spChg>
        <pc:spChg chg="mod">
          <ac:chgData name="Ula Staigyte" userId="f6dd036f-ca91-4ba7-a32e-843cc9983a4c" providerId="ADAL" clId="{025139B8-0A69-4A45-9B3D-4ADF647C2763}" dt="2022-01-24T12:46:22.268" v="1714"/>
          <ac:spMkLst>
            <pc:docMk/>
            <pc:sldMk cId="3921774358" sldId="415"/>
            <ac:spMk id="6" creationId="{329AC40B-BD1F-4425-9CD1-4DC553C04346}"/>
          </ac:spMkLst>
        </pc:spChg>
        <pc:spChg chg="add del mod">
          <ac:chgData name="Ula Staigyte" userId="f6dd036f-ca91-4ba7-a32e-843cc9983a4c" providerId="ADAL" clId="{025139B8-0A69-4A45-9B3D-4ADF647C2763}" dt="2022-01-25T12:58:56.701" v="2745" actId="478"/>
          <ac:spMkLst>
            <pc:docMk/>
            <pc:sldMk cId="3921774358" sldId="415"/>
            <ac:spMk id="7" creationId="{2AF9CCA2-67C5-4D15-9CA9-D817BCACE044}"/>
          </ac:spMkLst>
        </pc:spChg>
        <pc:spChg chg="add del mod">
          <ac:chgData name="Ula Staigyte" userId="f6dd036f-ca91-4ba7-a32e-843cc9983a4c" providerId="ADAL" clId="{025139B8-0A69-4A45-9B3D-4ADF647C2763}" dt="2022-01-24T14:42:01.573" v="2130" actId="478"/>
          <ac:spMkLst>
            <pc:docMk/>
            <pc:sldMk cId="3921774358" sldId="415"/>
            <ac:spMk id="8" creationId="{640CF20B-7A5F-4B14-851B-8398EBC30A57}"/>
          </ac:spMkLst>
        </pc:spChg>
        <pc:spChg chg="add del mod">
          <ac:chgData name="Ula Staigyte" userId="f6dd036f-ca91-4ba7-a32e-843cc9983a4c" providerId="ADAL" clId="{025139B8-0A69-4A45-9B3D-4ADF647C2763}" dt="2022-01-25T13:16:56.830" v="2750" actId="478"/>
          <ac:spMkLst>
            <pc:docMk/>
            <pc:sldMk cId="3921774358" sldId="415"/>
            <ac:spMk id="8" creationId="{B345A398-FCFD-4283-AA1E-F638BF70D32B}"/>
          </ac:spMkLst>
        </pc:spChg>
        <pc:spChg chg="add del mod">
          <ac:chgData name="Ula Staigyte" userId="f6dd036f-ca91-4ba7-a32e-843cc9983a4c" providerId="ADAL" clId="{025139B8-0A69-4A45-9B3D-4ADF647C2763}" dt="2022-01-25T12:58:57.481" v="2746" actId="478"/>
          <ac:spMkLst>
            <pc:docMk/>
            <pc:sldMk cId="3921774358" sldId="415"/>
            <ac:spMk id="9" creationId="{DCE3286D-708D-4BBB-9670-63B1BF90A58E}"/>
          </ac:spMkLst>
        </pc:spChg>
        <pc:spChg chg="add del mod">
          <ac:chgData name="Ula Staigyte" userId="f6dd036f-ca91-4ba7-a32e-843cc9983a4c" providerId="ADAL" clId="{025139B8-0A69-4A45-9B3D-4ADF647C2763}" dt="2022-01-25T13:17:02.842" v="2751" actId="478"/>
          <ac:spMkLst>
            <pc:docMk/>
            <pc:sldMk cId="3921774358" sldId="415"/>
            <ac:spMk id="10" creationId="{3293459C-7418-4860-B091-78B0B8D8C6D7}"/>
          </ac:spMkLst>
        </pc:spChg>
        <pc:spChg chg="mod topLvl">
          <ac:chgData name="Ula Staigyte" userId="f6dd036f-ca91-4ba7-a32e-843cc9983a4c" providerId="ADAL" clId="{025139B8-0A69-4A45-9B3D-4ADF647C2763}" dt="2022-02-03T14:33:52.010" v="16662" actId="20577"/>
          <ac:spMkLst>
            <pc:docMk/>
            <pc:sldMk cId="3921774358" sldId="415"/>
            <ac:spMk id="12" creationId="{63D78838-885A-4346-B010-F08D598B4AFF}"/>
          </ac:spMkLst>
        </pc:spChg>
        <pc:spChg chg="del mod topLvl">
          <ac:chgData name="Ula Staigyte" userId="f6dd036f-ca91-4ba7-a32e-843cc9983a4c" providerId="ADAL" clId="{025139B8-0A69-4A45-9B3D-4ADF647C2763}" dt="2022-01-25T14:22:09.467" v="3439" actId="478"/>
          <ac:spMkLst>
            <pc:docMk/>
            <pc:sldMk cId="3921774358" sldId="415"/>
            <ac:spMk id="13" creationId="{962DCB0B-1727-4F14-B734-E3846D58E8E1}"/>
          </ac:spMkLst>
        </pc:spChg>
        <pc:spChg chg="add mod">
          <ac:chgData name="Ula Staigyte" userId="f6dd036f-ca91-4ba7-a32e-843cc9983a4c" providerId="ADAL" clId="{025139B8-0A69-4A45-9B3D-4ADF647C2763}" dt="2022-02-03T14:31:10.437" v="16645" actId="123"/>
          <ac:spMkLst>
            <pc:docMk/>
            <pc:sldMk cId="3921774358" sldId="415"/>
            <ac:spMk id="14" creationId="{3AD0183F-7B61-4213-A7D5-A5E1B9531971}"/>
          </ac:spMkLst>
        </pc:spChg>
        <pc:spChg chg="del mod topLvl">
          <ac:chgData name="Ula Staigyte" userId="f6dd036f-ca91-4ba7-a32e-843cc9983a4c" providerId="ADAL" clId="{025139B8-0A69-4A45-9B3D-4ADF647C2763}" dt="2022-01-25T14:56:48.985" v="4531" actId="478"/>
          <ac:spMkLst>
            <pc:docMk/>
            <pc:sldMk cId="3921774358" sldId="415"/>
            <ac:spMk id="15" creationId="{B75ABF5C-53AC-4E91-8760-0EE29AEE7E30}"/>
          </ac:spMkLst>
        </pc:spChg>
        <pc:spChg chg="mod topLvl">
          <ac:chgData name="Ula Staigyte" userId="f6dd036f-ca91-4ba7-a32e-843cc9983a4c" providerId="ADAL" clId="{025139B8-0A69-4A45-9B3D-4ADF647C2763}" dt="2022-01-31T14:23:26.054" v="6899" actId="1076"/>
          <ac:spMkLst>
            <pc:docMk/>
            <pc:sldMk cId="3921774358" sldId="415"/>
            <ac:spMk id="16" creationId="{BE60E6FA-EC07-4326-AB9D-DB3AA8A4E7B8}"/>
          </ac:spMkLst>
        </pc:spChg>
        <pc:spChg chg="add del mod topLvl">
          <ac:chgData name="Ula Staigyte" userId="f6dd036f-ca91-4ba7-a32e-843cc9983a4c" providerId="ADAL" clId="{025139B8-0A69-4A45-9B3D-4ADF647C2763}" dt="2022-02-08T17:24:18.353" v="17739" actId="113"/>
          <ac:spMkLst>
            <pc:docMk/>
            <pc:sldMk cId="3921774358" sldId="415"/>
            <ac:spMk id="18" creationId="{8F508EF2-9BE8-458E-9330-99BC8D833BE5}"/>
          </ac:spMkLst>
        </pc:spChg>
        <pc:spChg chg="del mod topLvl">
          <ac:chgData name="Ula Staigyte" userId="f6dd036f-ca91-4ba7-a32e-843cc9983a4c" providerId="ADAL" clId="{025139B8-0A69-4A45-9B3D-4ADF647C2763}" dt="2022-01-25T14:25:05.274" v="3468" actId="478"/>
          <ac:spMkLst>
            <pc:docMk/>
            <pc:sldMk cId="3921774358" sldId="415"/>
            <ac:spMk id="19" creationId="{6DDB5395-134C-4C6B-A259-8DB3285F3CBD}"/>
          </ac:spMkLst>
        </pc:spChg>
        <pc:spChg chg="add mod">
          <ac:chgData name="Ula Staigyte" userId="f6dd036f-ca91-4ba7-a32e-843cc9983a4c" providerId="ADAL" clId="{025139B8-0A69-4A45-9B3D-4ADF647C2763}" dt="2022-01-31T14:27:02.867" v="7042" actId="14100"/>
          <ac:spMkLst>
            <pc:docMk/>
            <pc:sldMk cId="3921774358" sldId="415"/>
            <ac:spMk id="20" creationId="{9A4CA3F3-74D7-4FA0-9EDE-26A5889688B3}"/>
          </ac:spMkLst>
        </pc:spChg>
        <pc:spChg chg="add del mod">
          <ac:chgData name="Ula Staigyte" userId="f6dd036f-ca91-4ba7-a32e-843cc9983a4c" providerId="ADAL" clId="{025139B8-0A69-4A45-9B3D-4ADF647C2763}" dt="2022-01-25T14:55:11.630" v="4500" actId="478"/>
          <ac:spMkLst>
            <pc:docMk/>
            <pc:sldMk cId="3921774358" sldId="415"/>
            <ac:spMk id="21" creationId="{F151E1B4-565D-404F-BA50-77444A2B34EF}"/>
          </ac:spMkLst>
        </pc:spChg>
        <pc:spChg chg="add mod">
          <ac:chgData name="Ula Staigyte" userId="f6dd036f-ca91-4ba7-a32e-843cc9983a4c" providerId="ADAL" clId="{025139B8-0A69-4A45-9B3D-4ADF647C2763}" dt="2022-01-31T14:26:47.591" v="7039" actId="14100"/>
          <ac:spMkLst>
            <pc:docMk/>
            <pc:sldMk cId="3921774358" sldId="415"/>
            <ac:spMk id="22" creationId="{A7115C67-DECF-4BF7-8BCB-741E6031F338}"/>
          </ac:spMkLst>
        </pc:spChg>
        <pc:spChg chg="add del mod">
          <ac:chgData name="Ula Staigyte" userId="f6dd036f-ca91-4ba7-a32e-843cc9983a4c" providerId="ADAL" clId="{025139B8-0A69-4A45-9B3D-4ADF647C2763}" dt="2022-01-25T14:55:17.421" v="4501" actId="478"/>
          <ac:spMkLst>
            <pc:docMk/>
            <pc:sldMk cId="3921774358" sldId="415"/>
            <ac:spMk id="24" creationId="{8AAD84A1-F59F-43FD-A10D-AEBA84C89BDC}"/>
          </ac:spMkLst>
        </pc:spChg>
        <pc:spChg chg="add mod">
          <ac:chgData name="Ula Staigyte" userId="f6dd036f-ca91-4ba7-a32e-843cc9983a4c" providerId="ADAL" clId="{025139B8-0A69-4A45-9B3D-4ADF647C2763}" dt="2022-02-08T17:22:25.604" v="17711" actId="20577"/>
          <ac:spMkLst>
            <pc:docMk/>
            <pc:sldMk cId="3921774358" sldId="415"/>
            <ac:spMk id="25" creationId="{4955CFF6-8826-442F-986C-4FC0B028A2AC}"/>
          </ac:spMkLst>
        </pc:spChg>
        <pc:spChg chg="add mod">
          <ac:chgData name="Ula Staigyte" userId="f6dd036f-ca91-4ba7-a32e-843cc9983a4c" providerId="ADAL" clId="{025139B8-0A69-4A45-9B3D-4ADF647C2763}" dt="2022-02-03T14:30:50.358" v="16641" actId="123"/>
          <ac:spMkLst>
            <pc:docMk/>
            <pc:sldMk cId="3921774358" sldId="415"/>
            <ac:spMk id="26" creationId="{86157154-ECBC-4576-A583-C26C510ED531}"/>
          </ac:spMkLst>
        </pc:spChg>
        <pc:spChg chg="add mod">
          <ac:chgData name="Ula Staigyte" userId="f6dd036f-ca91-4ba7-a32e-843cc9983a4c" providerId="ADAL" clId="{025139B8-0A69-4A45-9B3D-4ADF647C2763}" dt="2022-02-08T17:17:55.147" v="17538" actId="20577"/>
          <ac:spMkLst>
            <pc:docMk/>
            <pc:sldMk cId="3921774358" sldId="415"/>
            <ac:spMk id="27" creationId="{2FDDBED7-0881-405D-90E6-FE3D738DC2F0}"/>
          </ac:spMkLst>
        </pc:spChg>
        <pc:spChg chg="add mod">
          <ac:chgData name="Ula Staigyte" userId="f6dd036f-ca91-4ba7-a32e-843cc9983a4c" providerId="ADAL" clId="{025139B8-0A69-4A45-9B3D-4ADF647C2763}" dt="2022-02-08T19:26:37.041" v="18158" actId="20577"/>
          <ac:spMkLst>
            <pc:docMk/>
            <pc:sldMk cId="3921774358" sldId="415"/>
            <ac:spMk id="28" creationId="{AFC95984-1A0E-4418-8E57-EAD3B8F5A894}"/>
          </ac:spMkLst>
        </pc:spChg>
        <pc:grpChg chg="add del mod">
          <ac:chgData name="Ula Staigyte" userId="f6dd036f-ca91-4ba7-a32e-843cc9983a4c" providerId="ADAL" clId="{025139B8-0A69-4A45-9B3D-4ADF647C2763}" dt="2022-01-25T12:58:55.801" v="2744" actId="478"/>
          <ac:grpSpMkLst>
            <pc:docMk/>
            <pc:sldMk cId="3921774358" sldId="415"/>
            <ac:grpSpMk id="4" creationId="{432C9916-9987-4D11-B6FB-A432DF81BA75}"/>
          </ac:grpSpMkLst>
        </pc:grpChg>
        <pc:grpChg chg="add del mod">
          <ac:chgData name="Ula Staigyte" userId="f6dd036f-ca91-4ba7-a32e-843cc9983a4c" providerId="ADAL" clId="{025139B8-0A69-4A45-9B3D-4ADF647C2763}" dt="2022-01-25T14:22:09.467" v="3439" actId="478"/>
          <ac:grpSpMkLst>
            <pc:docMk/>
            <pc:sldMk cId="3921774358" sldId="415"/>
            <ac:grpSpMk id="11" creationId="{C3275FD6-4599-4B59-A75F-1CF732FAEA73}"/>
          </ac:grpSpMkLst>
        </pc:grpChg>
        <pc:grpChg chg="add del mod">
          <ac:chgData name="Ula Staigyte" userId="f6dd036f-ca91-4ba7-a32e-843cc9983a4c" providerId="ADAL" clId="{025139B8-0A69-4A45-9B3D-4ADF647C2763}" dt="2022-01-25T14:56:48.985" v="4531" actId="478"/>
          <ac:grpSpMkLst>
            <pc:docMk/>
            <pc:sldMk cId="3921774358" sldId="415"/>
            <ac:grpSpMk id="14" creationId="{BAEC8218-9463-43C3-A481-6EA7E3A3C550}"/>
          </ac:grpSpMkLst>
        </pc:grpChg>
        <pc:grpChg chg="add del mod">
          <ac:chgData name="Ula Staigyte" userId="f6dd036f-ca91-4ba7-a32e-843cc9983a4c" providerId="ADAL" clId="{025139B8-0A69-4A45-9B3D-4ADF647C2763}" dt="2022-01-25T14:25:05.274" v="3468" actId="478"/>
          <ac:grpSpMkLst>
            <pc:docMk/>
            <pc:sldMk cId="3921774358" sldId="415"/>
            <ac:grpSpMk id="17" creationId="{76C4EF72-6100-4BA7-BF46-8213897BE2AB}"/>
          </ac:grpSpMkLst>
        </pc:grpChg>
        <pc:picChg chg="add mod">
          <ac:chgData name="Ula Staigyte" userId="f6dd036f-ca91-4ba7-a32e-843cc9983a4c" providerId="ADAL" clId="{025139B8-0A69-4A45-9B3D-4ADF647C2763}" dt="2022-01-28T13:20:45.155" v="5581"/>
          <ac:picMkLst>
            <pc:docMk/>
            <pc:sldMk cId="3921774358" sldId="415"/>
            <ac:picMk id="13" creationId="{475971C7-5F17-402B-9EAE-0081AE793D96}"/>
          </ac:picMkLst>
        </pc:picChg>
      </pc:sldChg>
      <pc:sldChg chg="addSp delSp modSp add mod ord">
        <pc:chgData name="Ula Staigyte" userId="f6dd036f-ca91-4ba7-a32e-843cc9983a4c" providerId="ADAL" clId="{025139B8-0A69-4A45-9B3D-4ADF647C2763}" dt="2022-01-31T15:50:07.688" v="8048" actId="20577"/>
        <pc:sldMkLst>
          <pc:docMk/>
          <pc:sldMk cId="1756683655" sldId="416"/>
        </pc:sldMkLst>
        <pc:spChg chg="add mod">
          <ac:chgData name="Ula Staigyte" userId="f6dd036f-ca91-4ba7-a32e-843cc9983a4c" providerId="ADAL" clId="{025139B8-0A69-4A45-9B3D-4ADF647C2763}" dt="2022-01-31T14:44:10.304" v="7303" actId="164"/>
          <ac:spMkLst>
            <pc:docMk/>
            <pc:sldMk cId="1756683655" sldId="416"/>
            <ac:spMk id="22" creationId="{57A2FA07-B90D-48C6-9BBE-945D54788BA9}"/>
          </ac:spMkLst>
        </pc:spChg>
        <pc:spChg chg="mod">
          <ac:chgData name="Ula Staigyte" userId="f6dd036f-ca91-4ba7-a32e-843cc9983a4c" providerId="ADAL" clId="{025139B8-0A69-4A45-9B3D-4ADF647C2763}" dt="2022-01-31T14:44:10.304" v="7303" actId="164"/>
          <ac:spMkLst>
            <pc:docMk/>
            <pc:sldMk cId="1756683655" sldId="416"/>
            <ac:spMk id="24" creationId="{FDF17BCC-962E-4783-B2A1-DD3DBEE6D313}"/>
          </ac:spMkLst>
        </pc:spChg>
        <pc:spChg chg="mod">
          <ac:chgData name="Ula Staigyte" userId="f6dd036f-ca91-4ba7-a32e-843cc9983a4c" providerId="ADAL" clId="{025139B8-0A69-4A45-9B3D-4ADF647C2763}" dt="2022-01-25T12:47:41.313" v="2179" actId="207"/>
          <ac:spMkLst>
            <pc:docMk/>
            <pc:sldMk cId="1756683655" sldId="416"/>
            <ac:spMk id="25" creationId="{192C126F-F51C-4D08-849F-A0CCAC8C3F2B}"/>
          </ac:spMkLst>
        </pc:spChg>
        <pc:spChg chg="add del mod">
          <ac:chgData name="Ula Staigyte" userId="f6dd036f-ca91-4ba7-a32e-843cc9983a4c" providerId="ADAL" clId="{025139B8-0A69-4A45-9B3D-4ADF647C2763}" dt="2022-01-31T14:46:05.581" v="7309"/>
          <ac:spMkLst>
            <pc:docMk/>
            <pc:sldMk cId="1756683655" sldId="416"/>
            <ac:spMk id="26" creationId="{0F8151FE-4E2E-4446-9F77-E9A0CBAB8C5B}"/>
          </ac:spMkLst>
        </pc:spChg>
        <pc:spChg chg="mod">
          <ac:chgData name="Ula Staigyte" userId="f6dd036f-ca91-4ba7-a32e-843cc9983a4c" providerId="ADAL" clId="{025139B8-0A69-4A45-9B3D-4ADF647C2763}" dt="2022-01-31T15:50:07.688" v="8048" actId="20577"/>
          <ac:spMkLst>
            <pc:docMk/>
            <pc:sldMk cId="1756683655" sldId="416"/>
            <ac:spMk id="28" creationId="{439E347E-6E95-4F9A-94DB-33823324AB72}"/>
          </ac:spMkLst>
        </pc:spChg>
        <pc:spChg chg="mod">
          <ac:chgData name="Ula Staigyte" userId="f6dd036f-ca91-4ba7-a32e-843cc9983a4c" providerId="ADAL" clId="{025139B8-0A69-4A45-9B3D-4ADF647C2763}" dt="2022-01-31T14:46:17.643" v="7310"/>
          <ac:spMkLst>
            <pc:docMk/>
            <pc:sldMk cId="1756683655" sldId="416"/>
            <ac:spMk id="29" creationId="{7BDD3761-D208-4C00-9104-E1770953831B}"/>
          </ac:spMkLst>
        </pc:spChg>
        <pc:spChg chg="mod">
          <ac:chgData name="Ula Staigyte" userId="f6dd036f-ca91-4ba7-a32e-843cc9983a4c" providerId="ADAL" clId="{025139B8-0A69-4A45-9B3D-4ADF647C2763}" dt="2022-01-31T14:46:30.403" v="7312"/>
          <ac:spMkLst>
            <pc:docMk/>
            <pc:sldMk cId="1756683655" sldId="416"/>
            <ac:spMk id="38" creationId="{CE778F19-9973-4789-8210-501FEA8641BC}"/>
          </ac:spMkLst>
        </pc:spChg>
        <pc:spChg chg="mod">
          <ac:chgData name="Ula Staigyte" userId="f6dd036f-ca91-4ba7-a32e-843cc9983a4c" providerId="ADAL" clId="{025139B8-0A69-4A45-9B3D-4ADF647C2763}" dt="2022-01-31T14:45:22.823" v="7305" actId="207"/>
          <ac:spMkLst>
            <pc:docMk/>
            <pc:sldMk cId="1756683655" sldId="416"/>
            <ac:spMk id="40" creationId="{7A4F7596-014D-4FEF-AF47-6E163A37FE3C}"/>
          </ac:spMkLst>
        </pc:spChg>
        <pc:spChg chg="mod">
          <ac:chgData name="Ula Staigyte" userId="f6dd036f-ca91-4ba7-a32e-843cc9983a4c" providerId="ADAL" clId="{025139B8-0A69-4A45-9B3D-4ADF647C2763}" dt="2022-01-31T14:45:31.432" v="7306" actId="207"/>
          <ac:spMkLst>
            <pc:docMk/>
            <pc:sldMk cId="1756683655" sldId="416"/>
            <ac:spMk id="41" creationId="{00F32C2A-6E60-4126-8B0B-34C9C71E4591}"/>
          </ac:spMkLst>
        </pc:spChg>
        <pc:spChg chg="mod">
          <ac:chgData name="Ula Staigyte" userId="f6dd036f-ca91-4ba7-a32e-843cc9983a4c" providerId="ADAL" clId="{025139B8-0A69-4A45-9B3D-4ADF647C2763}" dt="2022-01-25T12:46:34.526" v="2169" actId="207"/>
          <ac:spMkLst>
            <pc:docMk/>
            <pc:sldMk cId="1756683655" sldId="416"/>
            <ac:spMk id="47" creationId="{2A830FF9-5090-4B04-8449-AD8528C0503B}"/>
          </ac:spMkLst>
        </pc:spChg>
        <pc:grpChg chg="add mod">
          <ac:chgData name="Ula Staigyte" userId="f6dd036f-ca91-4ba7-a32e-843cc9983a4c" providerId="ADAL" clId="{025139B8-0A69-4A45-9B3D-4ADF647C2763}" dt="2022-01-31T14:45:53.231" v="7307" actId="1076"/>
          <ac:grpSpMkLst>
            <pc:docMk/>
            <pc:sldMk cId="1756683655" sldId="416"/>
            <ac:grpSpMk id="2" creationId="{599F2123-1FF5-4201-9F30-E151D3B1F3CB}"/>
          </ac:grpSpMkLst>
        </pc:grpChg>
        <pc:grpChg chg="add mod">
          <ac:chgData name="Ula Staigyte" userId="f6dd036f-ca91-4ba7-a32e-843cc9983a4c" providerId="ADAL" clId="{025139B8-0A69-4A45-9B3D-4ADF647C2763}" dt="2022-01-31T14:46:21.943" v="7311" actId="1076"/>
          <ac:grpSpMkLst>
            <pc:docMk/>
            <pc:sldMk cId="1756683655" sldId="416"/>
            <ac:grpSpMk id="27" creationId="{BD5BB3D2-8823-4504-83AA-B8AFA204DCAA}"/>
          </ac:grpSpMkLst>
        </pc:grpChg>
        <pc:grpChg chg="mod">
          <ac:chgData name="Ula Staigyte" userId="f6dd036f-ca91-4ba7-a32e-843cc9983a4c" providerId="ADAL" clId="{025139B8-0A69-4A45-9B3D-4ADF647C2763}" dt="2022-01-31T14:44:10.304" v="7303" actId="164"/>
          <ac:grpSpMkLst>
            <pc:docMk/>
            <pc:sldMk cId="1756683655" sldId="416"/>
            <ac:grpSpMk id="32" creationId="{FADC51F2-BE60-478A-BC01-4D0B32C08E41}"/>
          </ac:grpSpMkLst>
        </pc:grpChg>
      </pc:sldChg>
      <pc:sldChg chg="new del">
        <pc:chgData name="Ula Staigyte" userId="f6dd036f-ca91-4ba7-a32e-843cc9983a4c" providerId="ADAL" clId="{025139B8-0A69-4A45-9B3D-4ADF647C2763}" dt="2022-01-25T13:17:05.609" v="2752" actId="47"/>
        <pc:sldMkLst>
          <pc:docMk/>
          <pc:sldMk cId="1238420119" sldId="417"/>
        </pc:sldMkLst>
      </pc:sldChg>
      <pc:sldChg chg="addSp delSp modSp new del mod">
        <pc:chgData name="Ula Staigyte" userId="f6dd036f-ca91-4ba7-a32e-843cc9983a4c" providerId="ADAL" clId="{025139B8-0A69-4A45-9B3D-4ADF647C2763}" dt="2022-02-01T15:05:46.057" v="11940" actId="47"/>
        <pc:sldMkLst>
          <pc:docMk/>
          <pc:sldMk cId="1558195005" sldId="417"/>
        </pc:sldMkLst>
        <pc:spChg chg="mod">
          <ac:chgData name="Ula Staigyte" userId="f6dd036f-ca91-4ba7-a32e-843cc9983a4c" providerId="ADAL" clId="{025139B8-0A69-4A45-9B3D-4ADF647C2763}" dt="2022-01-28T13:04:44.554" v="5164" actId="20577"/>
          <ac:spMkLst>
            <pc:docMk/>
            <pc:sldMk cId="1558195005" sldId="417"/>
            <ac:spMk id="2" creationId="{5625514D-B641-4E65-9563-B2C3D6DE3718}"/>
          </ac:spMkLst>
        </pc:spChg>
        <pc:spChg chg="del">
          <ac:chgData name="Ula Staigyte" userId="f6dd036f-ca91-4ba7-a32e-843cc9983a4c" providerId="ADAL" clId="{025139B8-0A69-4A45-9B3D-4ADF647C2763}" dt="2022-01-28T13:04:39.224" v="5157" actId="478"/>
          <ac:spMkLst>
            <pc:docMk/>
            <pc:sldMk cId="1558195005" sldId="417"/>
            <ac:spMk id="3" creationId="{0210F967-CC40-49B2-AC5A-19604D87A50E}"/>
          </ac:spMkLst>
        </pc:spChg>
        <pc:spChg chg="add mod">
          <ac:chgData name="Ula Staigyte" userId="f6dd036f-ca91-4ba7-a32e-843cc9983a4c" providerId="ADAL" clId="{025139B8-0A69-4A45-9B3D-4ADF647C2763}" dt="2022-01-28T13:08:26.444" v="5412" actId="14100"/>
          <ac:spMkLst>
            <pc:docMk/>
            <pc:sldMk cId="1558195005" sldId="417"/>
            <ac:spMk id="4" creationId="{7D6E15ED-849C-4187-B1B0-340275E9068A}"/>
          </ac:spMkLst>
        </pc:spChg>
        <pc:spChg chg="add mod">
          <ac:chgData name="Ula Staigyte" userId="f6dd036f-ca91-4ba7-a32e-843cc9983a4c" providerId="ADAL" clId="{025139B8-0A69-4A45-9B3D-4ADF647C2763}" dt="2022-01-28T13:13:43.113" v="5452" actId="14100"/>
          <ac:spMkLst>
            <pc:docMk/>
            <pc:sldMk cId="1558195005" sldId="417"/>
            <ac:spMk id="5" creationId="{0585498A-1E44-4048-8ADA-16E2AD497F0F}"/>
          </ac:spMkLst>
        </pc:spChg>
        <pc:spChg chg="add del mod">
          <ac:chgData name="Ula Staigyte" userId="f6dd036f-ca91-4ba7-a32e-843cc9983a4c" providerId="ADAL" clId="{025139B8-0A69-4A45-9B3D-4ADF647C2763}" dt="2022-01-28T13:09:51.565" v="5416"/>
          <ac:spMkLst>
            <pc:docMk/>
            <pc:sldMk cId="1558195005" sldId="417"/>
            <ac:spMk id="6" creationId="{89B0F412-8D8B-48EF-9E7D-8E969B142347}"/>
          </ac:spMkLst>
        </pc:spChg>
        <pc:spChg chg="add mod">
          <ac:chgData name="Ula Staigyte" userId="f6dd036f-ca91-4ba7-a32e-843cc9983a4c" providerId="ADAL" clId="{025139B8-0A69-4A45-9B3D-4ADF647C2763}" dt="2022-01-28T13:10:57.649" v="5440" actId="14100"/>
          <ac:spMkLst>
            <pc:docMk/>
            <pc:sldMk cId="1558195005" sldId="417"/>
            <ac:spMk id="7" creationId="{C9C7797D-16B1-4FBB-85E5-FA3C7722E9B1}"/>
          </ac:spMkLst>
        </pc:spChg>
        <pc:spChg chg="add mod">
          <ac:chgData name="Ula Staigyte" userId="f6dd036f-ca91-4ba7-a32e-843cc9983a4c" providerId="ADAL" clId="{025139B8-0A69-4A45-9B3D-4ADF647C2763}" dt="2022-01-28T13:13:48.404" v="5453" actId="14100"/>
          <ac:spMkLst>
            <pc:docMk/>
            <pc:sldMk cId="1558195005" sldId="417"/>
            <ac:spMk id="8" creationId="{856F41B4-4BD5-4C69-BD6E-64BED9945F88}"/>
          </ac:spMkLst>
        </pc:spChg>
        <pc:spChg chg="add mod">
          <ac:chgData name="Ula Staigyte" userId="f6dd036f-ca91-4ba7-a32e-843cc9983a4c" providerId="ADAL" clId="{025139B8-0A69-4A45-9B3D-4ADF647C2763}" dt="2022-01-28T13:12:00.603" v="5443" actId="14100"/>
          <ac:spMkLst>
            <pc:docMk/>
            <pc:sldMk cId="1558195005" sldId="417"/>
            <ac:spMk id="9" creationId="{3D0FF371-DAD9-4E06-ACE0-5335D8A4A1A8}"/>
          </ac:spMkLst>
        </pc:spChg>
        <pc:spChg chg="add mod">
          <ac:chgData name="Ula Staigyte" userId="f6dd036f-ca91-4ba7-a32e-843cc9983a4c" providerId="ADAL" clId="{025139B8-0A69-4A45-9B3D-4ADF647C2763}" dt="2022-01-28T13:12:17.453" v="5444"/>
          <ac:spMkLst>
            <pc:docMk/>
            <pc:sldMk cId="1558195005" sldId="417"/>
            <ac:spMk id="10" creationId="{4D3D49D0-4BDF-4DE1-B6B8-BAF63400315A}"/>
          </ac:spMkLst>
        </pc:spChg>
        <pc:spChg chg="add mod">
          <ac:chgData name="Ula Staigyte" userId="f6dd036f-ca91-4ba7-a32e-843cc9983a4c" providerId="ADAL" clId="{025139B8-0A69-4A45-9B3D-4ADF647C2763}" dt="2022-01-28T13:13:29.745" v="5449" actId="20577"/>
          <ac:spMkLst>
            <pc:docMk/>
            <pc:sldMk cId="1558195005" sldId="417"/>
            <ac:spMk id="11" creationId="{FCA7AF86-A43F-49F5-B938-93B6D108D0C7}"/>
          </ac:spMkLst>
        </pc:spChg>
        <pc:spChg chg="add mod">
          <ac:chgData name="Ula Staigyte" userId="f6dd036f-ca91-4ba7-a32e-843cc9983a4c" providerId="ADAL" clId="{025139B8-0A69-4A45-9B3D-4ADF647C2763}" dt="2022-01-28T13:13:38.590" v="5451" actId="1076"/>
          <ac:spMkLst>
            <pc:docMk/>
            <pc:sldMk cId="1558195005" sldId="417"/>
            <ac:spMk id="12" creationId="{2449D374-4008-4617-BC38-884F12BB437A}"/>
          </ac:spMkLst>
        </pc:spChg>
        <pc:spChg chg="add mod">
          <ac:chgData name="Ula Staigyte" userId="f6dd036f-ca91-4ba7-a32e-843cc9983a4c" providerId="ADAL" clId="{025139B8-0A69-4A45-9B3D-4ADF647C2763}" dt="2022-02-01T15:02:47.999" v="11901" actId="20577"/>
          <ac:spMkLst>
            <pc:docMk/>
            <pc:sldMk cId="1558195005" sldId="417"/>
            <ac:spMk id="13" creationId="{5E1F817F-4223-4E26-86B0-FBB9744DDBCC}"/>
          </ac:spMkLst>
        </pc:spChg>
        <pc:spChg chg="add mod">
          <ac:chgData name="Ula Staigyte" userId="f6dd036f-ca91-4ba7-a32e-843cc9983a4c" providerId="ADAL" clId="{025139B8-0A69-4A45-9B3D-4ADF647C2763}" dt="2022-02-01T14:46:58.984" v="11659"/>
          <ac:spMkLst>
            <pc:docMk/>
            <pc:sldMk cId="1558195005" sldId="417"/>
            <ac:spMk id="15" creationId="{29FC5448-E43F-4868-8479-C796F6B712AE}"/>
          </ac:spMkLst>
        </pc:spChg>
        <pc:picChg chg="add mod">
          <ac:chgData name="Ula Staigyte" userId="f6dd036f-ca91-4ba7-a32e-843cc9983a4c" providerId="ADAL" clId="{025139B8-0A69-4A45-9B3D-4ADF647C2763}" dt="2022-01-28T13:19:40.919" v="5577"/>
          <ac:picMkLst>
            <pc:docMk/>
            <pc:sldMk cId="1558195005" sldId="417"/>
            <ac:picMk id="14" creationId="{0343D7BF-D996-4270-9568-5F183CDE7BDB}"/>
          </ac:picMkLst>
        </pc:picChg>
      </pc:sldChg>
      <pc:sldChg chg="add del">
        <pc:chgData name="Ula Staigyte" userId="f6dd036f-ca91-4ba7-a32e-843cc9983a4c" providerId="ADAL" clId="{025139B8-0A69-4A45-9B3D-4ADF647C2763}" dt="2022-01-25T12:46:41.473" v="2171"/>
        <pc:sldMkLst>
          <pc:docMk/>
          <pc:sldMk cId="3090619199" sldId="417"/>
        </pc:sldMkLst>
      </pc:sldChg>
      <pc:sldChg chg="addSp delSp modSp add mod addCm delCm modCm">
        <pc:chgData name="Ula Staigyte" userId="f6dd036f-ca91-4ba7-a32e-843cc9983a4c" providerId="ADAL" clId="{025139B8-0A69-4A45-9B3D-4ADF647C2763}" dt="2022-02-08T19:36:42.082" v="18287" actId="14100"/>
        <pc:sldMkLst>
          <pc:docMk/>
          <pc:sldMk cId="2939994076" sldId="418"/>
        </pc:sldMkLst>
        <pc:spChg chg="mod">
          <ac:chgData name="Ula Staigyte" userId="f6dd036f-ca91-4ba7-a32e-843cc9983a4c" providerId="ADAL" clId="{025139B8-0A69-4A45-9B3D-4ADF647C2763}" dt="2022-01-28T13:18:50.301" v="5567" actId="20577"/>
          <ac:spMkLst>
            <pc:docMk/>
            <pc:sldMk cId="2939994076" sldId="418"/>
            <ac:spMk id="2" creationId="{E1EF8EFD-2A7F-45DB-9C64-48F1A4ACE93F}"/>
          </ac:spMkLst>
        </pc:spChg>
        <pc:spChg chg="add del mod">
          <ac:chgData name="Ula Staigyte" userId="f6dd036f-ca91-4ba7-a32e-843cc9983a4c" providerId="ADAL" clId="{025139B8-0A69-4A45-9B3D-4ADF647C2763}" dt="2022-02-03T19:10:04.277" v="16992" actId="478"/>
          <ac:spMkLst>
            <pc:docMk/>
            <pc:sldMk cId="2939994076" sldId="418"/>
            <ac:spMk id="4" creationId="{AFDAC96D-4435-4582-858F-F69FC824E64A}"/>
          </ac:spMkLst>
        </pc:spChg>
        <pc:spChg chg="del mod">
          <ac:chgData name="Ula Staigyte" userId="f6dd036f-ca91-4ba7-a32e-843cc9983a4c" providerId="ADAL" clId="{025139B8-0A69-4A45-9B3D-4ADF647C2763}" dt="2022-01-28T13:23:11.611" v="5596" actId="478"/>
          <ac:spMkLst>
            <pc:docMk/>
            <pc:sldMk cId="2939994076" sldId="418"/>
            <ac:spMk id="11" creationId="{39CE4C60-6C27-48B4-9768-3A6AE3DB2435}"/>
          </ac:spMkLst>
        </pc:spChg>
        <pc:spChg chg="del mod">
          <ac:chgData name="Ula Staigyte" userId="f6dd036f-ca91-4ba7-a32e-843cc9983a4c" providerId="ADAL" clId="{025139B8-0A69-4A45-9B3D-4ADF647C2763}" dt="2022-01-28T13:23:15.474" v="5599" actId="478"/>
          <ac:spMkLst>
            <pc:docMk/>
            <pc:sldMk cId="2939994076" sldId="418"/>
            <ac:spMk id="12" creationId="{34E6A29F-6FF1-43B8-9F80-7F251245237D}"/>
          </ac:spMkLst>
        </pc:spChg>
        <pc:spChg chg="mod">
          <ac:chgData name="Ula Staigyte" userId="f6dd036f-ca91-4ba7-a32e-843cc9983a4c" providerId="ADAL" clId="{025139B8-0A69-4A45-9B3D-4ADF647C2763}" dt="2022-02-08T19:36:10.708" v="18281" actId="14100"/>
          <ac:spMkLst>
            <pc:docMk/>
            <pc:sldMk cId="2939994076" sldId="418"/>
            <ac:spMk id="13" creationId="{173EA8D5-F8FF-4144-80BB-ECC501F815D8}"/>
          </ac:spMkLst>
        </pc:spChg>
        <pc:spChg chg="mod">
          <ac:chgData name="Ula Staigyte" userId="f6dd036f-ca91-4ba7-a32e-843cc9983a4c" providerId="ADAL" clId="{025139B8-0A69-4A45-9B3D-4ADF647C2763}" dt="2022-02-08T19:36:36.329" v="18286" actId="14100"/>
          <ac:spMkLst>
            <pc:docMk/>
            <pc:sldMk cId="2939994076" sldId="418"/>
            <ac:spMk id="14" creationId="{94C377F0-C9C1-4018-969E-5550ECB2EE17}"/>
          </ac:spMkLst>
        </pc:spChg>
        <pc:spChg chg="mod topLvl">
          <ac:chgData name="Ula Staigyte" userId="f6dd036f-ca91-4ba7-a32e-843cc9983a4c" providerId="ADAL" clId="{025139B8-0A69-4A45-9B3D-4ADF647C2763}" dt="2022-02-02T07:52:49.396" v="13030" actId="113"/>
          <ac:spMkLst>
            <pc:docMk/>
            <pc:sldMk cId="2939994076" sldId="418"/>
            <ac:spMk id="21" creationId="{280C94D4-F20F-47E7-BF12-28D49CD82220}"/>
          </ac:spMkLst>
        </pc:spChg>
        <pc:spChg chg="del mod topLvl">
          <ac:chgData name="Ula Staigyte" userId="f6dd036f-ca91-4ba7-a32e-843cc9983a4c" providerId="ADAL" clId="{025139B8-0A69-4A45-9B3D-4ADF647C2763}" dt="2022-02-01T15:11:34.917" v="11968" actId="478"/>
          <ac:spMkLst>
            <pc:docMk/>
            <pc:sldMk cId="2939994076" sldId="418"/>
            <ac:spMk id="22" creationId="{18BE8302-3D42-45C2-AFF4-7E6F8841CA16}"/>
          </ac:spMkLst>
        </pc:spChg>
        <pc:spChg chg="del">
          <ac:chgData name="Ula Staigyte" userId="f6dd036f-ca91-4ba7-a32e-843cc9983a4c" providerId="ADAL" clId="{025139B8-0A69-4A45-9B3D-4ADF647C2763}" dt="2022-01-28T13:26:17.315" v="5664" actId="478"/>
          <ac:spMkLst>
            <pc:docMk/>
            <pc:sldMk cId="2939994076" sldId="418"/>
            <ac:spMk id="23" creationId="{4CD56687-9A16-4566-AC18-2390024D7AAF}"/>
          </ac:spMkLst>
        </pc:spChg>
        <pc:spChg chg="mod">
          <ac:chgData name="Ula Staigyte" userId="f6dd036f-ca91-4ba7-a32e-843cc9983a4c" providerId="ADAL" clId="{025139B8-0A69-4A45-9B3D-4ADF647C2763}" dt="2022-02-01T15:35:24.900" v="12363" actId="1076"/>
          <ac:spMkLst>
            <pc:docMk/>
            <pc:sldMk cId="2939994076" sldId="418"/>
            <ac:spMk id="24" creationId="{4D21C0D7-560D-4F02-B72F-34734D75DC6E}"/>
          </ac:spMkLst>
        </pc:spChg>
        <pc:spChg chg="del mod">
          <ac:chgData name="Ula Staigyte" userId="f6dd036f-ca91-4ba7-a32e-843cc9983a4c" providerId="ADAL" clId="{025139B8-0A69-4A45-9B3D-4ADF647C2763}" dt="2022-02-01T15:12:10.672" v="11976" actId="478"/>
          <ac:spMkLst>
            <pc:docMk/>
            <pc:sldMk cId="2939994076" sldId="418"/>
            <ac:spMk id="26" creationId="{6B26A202-F906-41F2-804C-1CBCF6974237}"/>
          </ac:spMkLst>
        </pc:spChg>
        <pc:spChg chg="add mod">
          <ac:chgData name="Ula Staigyte" userId="f6dd036f-ca91-4ba7-a32e-843cc9983a4c" providerId="ADAL" clId="{025139B8-0A69-4A45-9B3D-4ADF647C2763}" dt="2022-02-08T19:36:42.082" v="18287" actId="14100"/>
          <ac:spMkLst>
            <pc:docMk/>
            <pc:sldMk cId="2939994076" sldId="418"/>
            <ac:spMk id="26" creationId="{97E615C3-F8EF-457A-AC08-071E9A4E966A}"/>
          </ac:spMkLst>
        </pc:spChg>
        <pc:spChg chg="add mod">
          <ac:chgData name="Ula Staigyte" userId="f6dd036f-ca91-4ba7-a32e-843cc9983a4c" providerId="ADAL" clId="{025139B8-0A69-4A45-9B3D-4ADF647C2763}" dt="2022-02-03T19:10:26.288" v="17004" actId="20577"/>
          <ac:spMkLst>
            <pc:docMk/>
            <pc:sldMk cId="2939994076" sldId="418"/>
            <ac:spMk id="28" creationId="{420A9B90-2DBA-4A78-BAE4-7EFB0C011D12}"/>
          </ac:spMkLst>
        </pc:spChg>
        <pc:spChg chg="del">
          <ac:chgData name="Ula Staigyte" userId="f6dd036f-ca91-4ba7-a32e-843cc9983a4c" providerId="ADAL" clId="{025139B8-0A69-4A45-9B3D-4ADF647C2763}" dt="2022-01-28T13:18:41.947" v="5559" actId="478"/>
          <ac:spMkLst>
            <pc:docMk/>
            <pc:sldMk cId="2939994076" sldId="418"/>
            <ac:spMk id="28" creationId="{B1505AF4-5421-49EB-9529-944ECCB731AC}"/>
          </ac:spMkLst>
        </pc:spChg>
        <pc:spChg chg="del mod">
          <ac:chgData name="Ula Staigyte" userId="f6dd036f-ca91-4ba7-a32e-843cc9983a4c" providerId="ADAL" clId="{025139B8-0A69-4A45-9B3D-4ADF647C2763}" dt="2022-02-01T15:09:21.675" v="11961" actId="478"/>
          <ac:spMkLst>
            <pc:docMk/>
            <pc:sldMk cId="2939994076" sldId="418"/>
            <ac:spMk id="29" creationId="{55ED7F29-BD70-4DAC-BBEB-233F69BADD74}"/>
          </ac:spMkLst>
        </pc:spChg>
        <pc:spChg chg="mod">
          <ac:chgData name="Ula Staigyte" userId="f6dd036f-ca91-4ba7-a32e-843cc9983a4c" providerId="ADAL" clId="{025139B8-0A69-4A45-9B3D-4ADF647C2763}" dt="2022-02-02T07:53:45.732" v="13033" actId="1076"/>
          <ac:spMkLst>
            <pc:docMk/>
            <pc:sldMk cId="2939994076" sldId="418"/>
            <ac:spMk id="30" creationId="{6FABF4C2-5F52-4837-B6C1-F1A106E58FB6}"/>
          </ac:spMkLst>
        </pc:spChg>
        <pc:spChg chg="add del">
          <ac:chgData name="Ula Staigyte" userId="f6dd036f-ca91-4ba7-a32e-843cc9983a4c" providerId="ADAL" clId="{025139B8-0A69-4A45-9B3D-4ADF647C2763}" dt="2022-01-28T13:21:21.357" v="5584" actId="22"/>
          <ac:spMkLst>
            <pc:docMk/>
            <pc:sldMk cId="2939994076" sldId="418"/>
            <ac:spMk id="31" creationId="{0F698B24-1EBC-46AE-B662-571AE3E8B433}"/>
          </ac:spMkLst>
        </pc:spChg>
        <pc:spChg chg="add mod">
          <ac:chgData name="Ula Staigyte" userId="f6dd036f-ca91-4ba7-a32e-843cc9983a4c" providerId="ADAL" clId="{025139B8-0A69-4A45-9B3D-4ADF647C2763}" dt="2022-02-03T19:10:53.323" v="17009" actId="123"/>
          <ac:spMkLst>
            <pc:docMk/>
            <pc:sldMk cId="2939994076" sldId="418"/>
            <ac:spMk id="31" creationId="{D5B4C8B9-E5CF-46B0-B775-AD2A94F913C2}"/>
          </ac:spMkLst>
        </pc:spChg>
        <pc:spChg chg="mod">
          <ac:chgData name="Ula Staigyte" userId="f6dd036f-ca91-4ba7-a32e-843cc9983a4c" providerId="ADAL" clId="{025139B8-0A69-4A45-9B3D-4ADF647C2763}" dt="2022-02-02T07:54:26.379" v="13040" actId="1076"/>
          <ac:spMkLst>
            <pc:docMk/>
            <pc:sldMk cId="2939994076" sldId="418"/>
            <ac:spMk id="32" creationId="{E0407C3F-7A9D-4F31-AB7F-25255CB7107C}"/>
          </ac:spMkLst>
        </pc:spChg>
        <pc:spChg chg="del">
          <ac:chgData name="Ula Staigyte" userId="f6dd036f-ca91-4ba7-a32e-843cc9983a4c" providerId="ADAL" clId="{025139B8-0A69-4A45-9B3D-4ADF647C2763}" dt="2022-01-28T13:34:36.589" v="5746" actId="478"/>
          <ac:spMkLst>
            <pc:docMk/>
            <pc:sldMk cId="2939994076" sldId="418"/>
            <ac:spMk id="33" creationId="{5D6DC34F-D9DC-46F3-8210-B6486F12A728}"/>
          </ac:spMkLst>
        </pc:spChg>
        <pc:spChg chg="add mod">
          <ac:chgData name="Ula Staigyte" userId="f6dd036f-ca91-4ba7-a32e-843cc9983a4c" providerId="ADAL" clId="{025139B8-0A69-4A45-9B3D-4ADF647C2763}" dt="2022-02-02T07:54:18.896" v="13038" actId="1076"/>
          <ac:spMkLst>
            <pc:docMk/>
            <pc:sldMk cId="2939994076" sldId="418"/>
            <ac:spMk id="33" creationId="{E8FA15BC-E745-487F-AFD2-526D5DD3B48E}"/>
          </ac:spMkLst>
        </pc:spChg>
        <pc:spChg chg="mod">
          <ac:chgData name="Ula Staigyte" userId="f6dd036f-ca91-4ba7-a32e-843cc9983a4c" providerId="ADAL" clId="{025139B8-0A69-4A45-9B3D-4ADF647C2763}" dt="2022-02-03T19:10:47.560" v="17007" actId="123"/>
          <ac:spMkLst>
            <pc:docMk/>
            <pc:sldMk cId="2939994076" sldId="418"/>
            <ac:spMk id="34" creationId="{5ADBD6A1-A4D7-44C5-877F-7894549A1C92}"/>
          </ac:spMkLst>
        </pc:spChg>
        <pc:spChg chg="add del">
          <ac:chgData name="Ula Staigyte" userId="f6dd036f-ca91-4ba7-a32e-843cc9983a4c" providerId="ADAL" clId="{025139B8-0A69-4A45-9B3D-4ADF647C2763}" dt="2022-01-28T13:23:27.018" v="5602" actId="22"/>
          <ac:spMkLst>
            <pc:docMk/>
            <pc:sldMk cId="2939994076" sldId="418"/>
            <ac:spMk id="35" creationId="{0974D314-33C1-49E5-915D-BE2BFA4A4CE8}"/>
          </ac:spMkLst>
        </pc:spChg>
        <pc:spChg chg="add mod">
          <ac:chgData name="Ula Staigyte" userId="f6dd036f-ca91-4ba7-a32e-843cc9983a4c" providerId="ADAL" clId="{025139B8-0A69-4A45-9B3D-4ADF647C2763}" dt="2022-02-03T19:10:50.618" v="17008" actId="123"/>
          <ac:spMkLst>
            <pc:docMk/>
            <pc:sldMk cId="2939994076" sldId="418"/>
            <ac:spMk id="35" creationId="{1073E10D-9CAE-42EA-9BE5-E64F09A39C37}"/>
          </ac:spMkLst>
        </pc:spChg>
        <pc:spChg chg="del mod">
          <ac:chgData name="Ula Staigyte" userId="f6dd036f-ca91-4ba7-a32e-843cc9983a4c" providerId="ADAL" clId="{025139B8-0A69-4A45-9B3D-4ADF647C2763}" dt="2022-02-01T15:23:08.820" v="12225" actId="478"/>
          <ac:spMkLst>
            <pc:docMk/>
            <pc:sldMk cId="2939994076" sldId="418"/>
            <ac:spMk id="36" creationId="{914DB651-3BCC-46DC-9FA5-95AF80D488E6}"/>
          </ac:spMkLst>
        </pc:spChg>
        <pc:spChg chg="mod">
          <ac:chgData name="Ula Staigyte" userId="f6dd036f-ca91-4ba7-a32e-843cc9983a4c" providerId="ADAL" clId="{025139B8-0A69-4A45-9B3D-4ADF647C2763}" dt="2022-02-03T19:10:56.416" v="17010" actId="123"/>
          <ac:spMkLst>
            <pc:docMk/>
            <pc:sldMk cId="2939994076" sldId="418"/>
            <ac:spMk id="37" creationId="{391BCBCB-A9D1-4567-83DB-8DEE3DC001FE}"/>
          </ac:spMkLst>
        </pc:spChg>
        <pc:spChg chg="add mod">
          <ac:chgData name="Ula Staigyte" userId="f6dd036f-ca91-4ba7-a32e-843cc9983a4c" providerId="ADAL" clId="{025139B8-0A69-4A45-9B3D-4ADF647C2763}" dt="2022-02-01T15:35:22.296" v="12362" actId="1076"/>
          <ac:spMkLst>
            <pc:docMk/>
            <pc:sldMk cId="2939994076" sldId="418"/>
            <ac:spMk id="38" creationId="{146594E6-D65A-4054-A1CA-AE706C0BFE16}"/>
          </ac:spMkLst>
        </pc:spChg>
        <pc:spChg chg="add del mod">
          <ac:chgData name="Ula Staigyte" userId="f6dd036f-ca91-4ba7-a32e-843cc9983a4c" providerId="ADAL" clId="{025139B8-0A69-4A45-9B3D-4ADF647C2763}" dt="2022-02-01T15:19:09.190" v="12029" actId="478"/>
          <ac:spMkLst>
            <pc:docMk/>
            <pc:sldMk cId="2939994076" sldId="418"/>
            <ac:spMk id="39" creationId="{CAD81D93-B145-4141-98B7-D88283EE548A}"/>
          </ac:spMkLst>
        </pc:spChg>
        <pc:spChg chg="add mod">
          <ac:chgData name="Ula Staigyte" userId="f6dd036f-ca91-4ba7-a32e-843cc9983a4c" providerId="ADAL" clId="{025139B8-0A69-4A45-9B3D-4ADF647C2763}" dt="2022-02-02T07:54:14.214" v="13037" actId="1076"/>
          <ac:spMkLst>
            <pc:docMk/>
            <pc:sldMk cId="2939994076" sldId="418"/>
            <ac:spMk id="40" creationId="{4A022054-F532-4BD7-8AF4-EFF26D1756AF}"/>
          </ac:spMkLst>
        </pc:spChg>
        <pc:grpChg chg="add del mod">
          <ac:chgData name="Ula Staigyte" userId="f6dd036f-ca91-4ba7-a32e-843cc9983a4c" providerId="ADAL" clId="{025139B8-0A69-4A45-9B3D-4ADF647C2763}" dt="2022-01-28T13:23:37.909" v="5606" actId="1076"/>
          <ac:grpSpMkLst>
            <pc:docMk/>
            <pc:sldMk cId="2939994076" sldId="418"/>
            <ac:grpSpMk id="9" creationId="{08B7D57F-18B1-4010-95E6-E5634A95C8F1}"/>
          </ac:grpSpMkLst>
        </pc:grpChg>
        <pc:grpChg chg="mod">
          <ac:chgData name="Ula Staigyte" userId="f6dd036f-ca91-4ba7-a32e-843cc9983a4c" providerId="ADAL" clId="{025139B8-0A69-4A45-9B3D-4ADF647C2763}" dt="2022-02-01T15:28:12.291" v="12311" actId="1076"/>
          <ac:grpSpMkLst>
            <pc:docMk/>
            <pc:sldMk cId="2939994076" sldId="418"/>
            <ac:grpSpMk id="19" creationId="{FA1C595D-1230-4A3D-BA0B-F44CE883DCD7}"/>
          </ac:grpSpMkLst>
        </pc:grpChg>
        <pc:grpChg chg="del mod">
          <ac:chgData name="Ula Staigyte" userId="f6dd036f-ca91-4ba7-a32e-843cc9983a4c" providerId="ADAL" clId="{025139B8-0A69-4A45-9B3D-4ADF647C2763}" dt="2022-02-01T15:11:34.917" v="11968" actId="478"/>
          <ac:grpSpMkLst>
            <pc:docMk/>
            <pc:sldMk cId="2939994076" sldId="418"/>
            <ac:grpSpMk id="20" creationId="{FEE7D3A8-BA0B-4D33-9C6E-E162ED5B0362}"/>
          </ac:grpSpMkLst>
        </pc:grpChg>
        <pc:picChg chg="add mod">
          <ac:chgData name="Ula Staigyte" userId="f6dd036f-ca91-4ba7-a32e-843cc9983a4c" providerId="ADAL" clId="{025139B8-0A69-4A45-9B3D-4ADF647C2763}" dt="2022-01-28T13:19:15.286" v="5571" actId="1076"/>
          <ac:picMkLst>
            <pc:docMk/>
            <pc:sldMk cId="2939994076" sldId="418"/>
            <ac:picMk id="3" creationId="{78FAAE12-881B-4459-B8C1-3AB6B6CF36FB}"/>
          </ac:picMkLst>
        </pc:picChg>
      </pc:sldChg>
      <pc:sldChg chg="addSp delSp modSp add mod addCm delCm modCm">
        <pc:chgData name="Ula Staigyte" userId="f6dd036f-ca91-4ba7-a32e-843cc9983a4c" providerId="ADAL" clId="{025139B8-0A69-4A45-9B3D-4ADF647C2763}" dt="2022-02-08T17:44:29.956" v="18015" actId="20577"/>
        <pc:sldMkLst>
          <pc:docMk/>
          <pc:sldMk cId="2958746349" sldId="419"/>
        </pc:sldMkLst>
        <pc:spChg chg="mod">
          <ac:chgData name="Ula Staigyte" userId="f6dd036f-ca91-4ba7-a32e-843cc9983a4c" providerId="ADAL" clId="{025139B8-0A69-4A45-9B3D-4ADF647C2763}" dt="2022-01-28T13:41:58.926" v="5816" actId="20577"/>
          <ac:spMkLst>
            <pc:docMk/>
            <pc:sldMk cId="2958746349" sldId="419"/>
            <ac:spMk id="2" creationId="{5625514D-B641-4E65-9563-B2C3D6DE3718}"/>
          </ac:spMkLst>
        </pc:spChg>
        <pc:spChg chg="add mod">
          <ac:chgData name="Ula Staigyte" userId="f6dd036f-ca91-4ba7-a32e-843cc9983a4c" providerId="ADAL" clId="{025139B8-0A69-4A45-9B3D-4ADF647C2763}" dt="2022-02-08T17:36:51.990" v="17992" actId="123"/>
          <ac:spMkLst>
            <pc:docMk/>
            <pc:sldMk cId="2958746349" sldId="419"/>
            <ac:spMk id="3" creationId="{269D8BF3-424F-41BA-A14A-56A6214F8B2D}"/>
          </ac:spMkLst>
        </pc:spChg>
        <pc:spChg chg="mod">
          <ac:chgData name="Ula Staigyte" userId="f6dd036f-ca91-4ba7-a32e-843cc9983a4c" providerId="ADAL" clId="{025139B8-0A69-4A45-9B3D-4ADF647C2763}" dt="2022-02-03T19:14:23.178" v="17021" actId="20577"/>
          <ac:spMkLst>
            <pc:docMk/>
            <pc:sldMk cId="2958746349" sldId="419"/>
            <ac:spMk id="4" creationId="{7D6E15ED-849C-4187-B1B0-340275E9068A}"/>
          </ac:spMkLst>
        </pc:spChg>
        <pc:spChg chg="mod">
          <ac:chgData name="Ula Staigyte" userId="f6dd036f-ca91-4ba7-a32e-843cc9983a4c" providerId="ADAL" clId="{025139B8-0A69-4A45-9B3D-4ADF647C2763}" dt="2022-02-02T08:02:39.126" v="13088" actId="14100"/>
          <ac:spMkLst>
            <pc:docMk/>
            <pc:sldMk cId="2958746349" sldId="419"/>
            <ac:spMk id="5" creationId="{0585498A-1E44-4048-8ADA-16E2AD497F0F}"/>
          </ac:spMkLst>
        </pc:spChg>
        <pc:spChg chg="mod">
          <ac:chgData name="Ula Staigyte" userId="f6dd036f-ca91-4ba7-a32e-843cc9983a4c" providerId="ADAL" clId="{025139B8-0A69-4A45-9B3D-4ADF647C2763}" dt="2022-02-02T08:02:33.040" v="13086" actId="14100"/>
          <ac:spMkLst>
            <pc:docMk/>
            <pc:sldMk cId="2958746349" sldId="419"/>
            <ac:spMk id="7" creationId="{C9C7797D-16B1-4FBB-85E5-FA3C7722E9B1}"/>
          </ac:spMkLst>
        </pc:spChg>
        <pc:spChg chg="del">
          <ac:chgData name="Ula Staigyte" userId="f6dd036f-ca91-4ba7-a32e-843cc9983a4c" providerId="ADAL" clId="{025139B8-0A69-4A45-9B3D-4ADF647C2763}" dt="2022-02-02T08:01:36.845" v="13070" actId="478"/>
          <ac:spMkLst>
            <pc:docMk/>
            <pc:sldMk cId="2958746349" sldId="419"/>
            <ac:spMk id="8" creationId="{856F41B4-4BD5-4C69-BD6E-64BED9945F88}"/>
          </ac:spMkLst>
        </pc:spChg>
        <pc:spChg chg="del mod">
          <ac:chgData name="Ula Staigyte" userId="f6dd036f-ca91-4ba7-a32e-843cc9983a4c" providerId="ADAL" clId="{025139B8-0A69-4A45-9B3D-4ADF647C2763}" dt="2022-02-02T08:01:39.200" v="13071" actId="478"/>
          <ac:spMkLst>
            <pc:docMk/>
            <pc:sldMk cId="2958746349" sldId="419"/>
            <ac:spMk id="9" creationId="{3D0FF371-DAD9-4E06-ACE0-5335D8A4A1A8}"/>
          </ac:spMkLst>
        </pc:spChg>
        <pc:spChg chg="mod">
          <ac:chgData name="Ula Staigyte" userId="f6dd036f-ca91-4ba7-a32e-843cc9983a4c" providerId="ADAL" clId="{025139B8-0A69-4A45-9B3D-4ADF647C2763}" dt="2022-02-03T19:14:29.692" v="17022" actId="123"/>
          <ac:spMkLst>
            <pc:docMk/>
            <pc:sldMk cId="2958746349" sldId="419"/>
            <ac:spMk id="10" creationId="{4D3D49D0-4BDF-4DE1-B6B8-BAF63400315A}"/>
          </ac:spMkLst>
        </pc:spChg>
        <pc:spChg chg="add mod">
          <ac:chgData name="Ula Staigyte" userId="f6dd036f-ca91-4ba7-a32e-843cc9983a4c" providerId="ADAL" clId="{025139B8-0A69-4A45-9B3D-4ADF647C2763}" dt="2022-02-08T17:39:36.244" v="17993" actId="20577"/>
          <ac:spMkLst>
            <pc:docMk/>
            <pc:sldMk cId="2958746349" sldId="419"/>
            <ac:spMk id="11" creationId="{1B6B0814-774B-4A2B-9CFB-51F93B81820B}"/>
          </ac:spMkLst>
        </pc:spChg>
        <pc:spChg chg="del mod">
          <ac:chgData name="Ula Staigyte" userId="f6dd036f-ca91-4ba7-a32e-843cc9983a4c" providerId="ADAL" clId="{025139B8-0A69-4A45-9B3D-4ADF647C2763}" dt="2022-01-28T13:45:10.446" v="5853" actId="478"/>
          <ac:spMkLst>
            <pc:docMk/>
            <pc:sldMk cId="2958746349" sldId="419"/>
            <ac:spMk id="11" creationId="{FCA7AF86-A43F-49F5-B938-93B6D108D0C7}"/>
          </ac:spMkLst>
        </pc:spChg>
        <pc:spChg chg="del">
          <ac:chgData name="Ula Staigyte" userId="f6dd036f-ca91-4ba7-a32e-843cc9983a4c" providerId="ADAL" clId="{025139B8-0A69-4A45-9B3D-4ADF647C2763}" dt="2022-01-28T13:45:11.357" v="5854" actId="478"/>
          <ac:spMkLst>
            <pc:docMk/>
            <pc:sldMk cId="2958746349" sldId="419"/>
            <ac:spMk id="12" creationId="{2449D374-4008-4617-BC38-884F12BB437A}"/>
          </ac:spMkLst>
        </pc:spChg>
        <pc:spChg chg="mod">
          <ac:chgData name="Ula Staigyte" userId="f6dd036f-ca91-4ba7-a32e-843cc9983a4c" providerId="ADAL" clId="{025139B8-0A69-4A45-9B3D-4ADF647C2763}" dt="2022-02-08T17:44:29.956" v="18015" actId="20577"/>
          <ac:spMkLst>
            <pc:docMk/>
            <pc:sldMk cId="2958746349" sldId="419"/>
            <ac:spMk id="13" creationId="{5E1F817F-4223-4E26-86B0-FBB9744DDBCC}"/>
          </ac:spMkLst>
        </pc:spChg>
        <pc:picChg chg="del">
          <ac:chgData name="Ula Staigyte" userId="f6dd036f-ca91-4ba7-a32e-843cc9983a4c" providerId="ADAL" clId="{025139B8-0A69-4A45-9B3D-4ADF647C2763}" dt="2022-01-28T13:42:01.296" v="5817" actId="478"/>
          <ac:picMkLst>
            <pc:docMk/>
            <pc:sldMk cId="2958746349" sldId="419"/>
            <ac:picMk id="14" creationId="{0343D7BF-D996-4270-9568-5F183CDE7BDB}"/>
          </ac:picMkLst>
        </pc:picChg>
        <pc:picChg chg="add mod">
          <ac:chgData name="Ula Staigyte" userId="f6dd036f-ca91-4ba7-a32e-843cc9983a4c" providerId="ADAL" clId="{025139B8-0A69-4A45-9B3D-4ADF647C2763}" dt="2022-01-28T13:42:05.773" v="5818"/>
          <ac:picMkLst>
            <pc:docMk/>
            <pc:sldMk cId="2958746349" sldId="419"/>
            <ac:picMk id="15" creationId="{2E8A87D1-1274-4358-B273-93647D76E267}"/>
          </ac:picMkLst>
        </pc:picChg>
      </pc:sldChg>
      <pc:sldChg chg="addSp delSp modSp add mod ord delCm">
        <pc:chgData name="Ula Staigyte" userId="f6dd036f-ca91-4ba7-a32e-843cc9983a4c" providerId="ADAL" clId="{025139B8-0A69-4A45-9B3D-4ADF647C2763}" dt="2022-02-08T19:27:33.841" v="18175" actId="21"/>
        <pc:sldMkLst>
          <pc:docMk/>
          <pc:sldMk cId="1299518292" sldId="420"/>
        </pc:sldMkLst>
        <pc:spChg chg="mod">
          <ac:chgData name="Ula Staigyte" userId="f6dd036f-ca91-4ba7-a32e-843cc9983a4c" providerId="ADAL" clId="{025139B8-0A69-4A45-9B3D-4ADF647C2763}" dt="2022-02-02T08:33:21.085" v="13705" actId="1076"/>
          <ac:spMkLst>
            <pc:docMk/>
            <pc:sldMk cId="1299518292" sldId="420"/>
            <ac:spMk id="2" creationId="{E1EF8EFD-2A7F-45DB-9C64-48F1A4ACE93F}"/>
          </ac:spMkLst>
        </pc:spChg>
        <pc:spChg chg="add mod">
          <ac:chgData name="Ula Staigyte" userId="f6dd036f-ca91-4ba7-a32e-843cc9983a4c" providerId="ADAL" clId="{025139B8-0A69-4A45-9B3D-4ADF647C2763}" dt="2022-02-03T19:15:46.195" v="17030" actId="123"/>
          <ac:spMkLst>
            <pc:docMk/>
            <pc:sldMk cId="1299518292" sldId="420"/>
            <ac:spMk id="4" creationId="{A60300DF-DE5E-4BC9-8B27-525DBF3709B8}"/>
          </ac:spMkLst>
        </pc:spChg>
        <pc:spChg chg="del mod">
          <ac:chgData name="Ula Staigyte" userId="f6dd036f-ca91-4ba7-a32e-843cc9983a4c" providerId="ADAL" clId="{025139B8-0A69-4A45-9B3D-4ADF647C2763}" dt="2022-02-02T08:23:50.996" v="13388" actId="478"/>
          <ac:spMkLst>
            <pc:docMk/>
            <pc:sldMk cId="1299518292" sldId="420"/>
            <ac:spMk id="11" creationId="{39CE4C60-6C27-48B4-9768-3A6AE3DB2435}"/>
          </ac:spMkLst>
        </pc:spChg>
        <pc:spChg chg="mod">
          <ac:chgData name="Ula Staigyte" userId="f6dd036f-ca91-4ba7-a32e-843cc9983a4c" providerId="ADAL" clId="{025139B8-0A69-4A45-9B3D-4ADF647C2763}" dt="2022-02-02T08:49:24.630" v="13979" actId="14100"/>
          <ac:spMkLst>
            <pc:docMk/>
            <pc:sldMk cId="1299518292" sldId="420"/>
            <ac:spMk id="12" creationId="{34E6A29F-6FF1-43B8-9F80-7F251245237D}"/>
          </ac:spMkLst>
        </pc:spChg>
        <pc:spChg chg="mod">
          <ac:chgData name="Ula Staigyte" userId="f6dd036f-ca91-4ba7-a32e-843cc9983a4c" providerId="ADAL" clId="{025139B8-0A69-4A45-9B3D-4ADF647C2763}" dt="2022-02-03T19:14:53.086" v="17026" actId="123"/>
          <ac:spMkLst>
            <pc:docMk/>
            <pc:sldMk cId="1299518292" sldId="420"/>
            <ac:spMk id="13" creationId="{173EA8D5-F8FF-4144-80BB-ECC501F815D8}"/>
          </ac:spMkLst>
        </pc:spChg>
        <pc:spChg chg="mod">
          <ac:chgData name="Ula Staigyte" userId="f6dd036f-ca91-4ba7-a32e-843cc9983a4c" providerId="ADAL" clId="{025139B8-0A69-4A45-9B3D-4ADF647C2763}" dt="2022-02-03T19:14:50.012" v="17025" actId="123"/>
          <ac:spMkLst>
            <pc:docMk/>
            <pc:sldMk cId="1299518292" sldId="420"/>
            <ac:spMk id="14" creationId="{94C377F0-C9C1-4018-969E-5550ECB2EE17}"/>
          </ac:spMkLst>
        </pc:spChg>
        <pc:spChg chg="del mod">
          <ac:chgData name="Ula Staigyte" userId="f6dd036f-ca91-4ba7-a32e-843cc9983a4c" providerId="ADAL" clId="{025139B8-0A69-4A45-9B3D-4ADF647C2763}" dt="2022-02-02T08:47:33.221" v="13935" actId="478"/>
          <ac:spMkLst>
            <pc:docMk/>
            <pc:sldMk cId="1299518292" sldId="420"/>
            <ac:spMk id="15" creationId="{4506B405-7F05-4ABC-B27C-D0204AB8EB9D}"/>
          </ac:spMkLst>
        </pc:spChg>
        <pc:spChg chg="mod">
          <ac:chgData name="Ula Staigyte" userId="f6dd036f-ca91-4ba7-a32e-843cc9983a4c" providerId="ADAL" clId="{025139B8-0A69-4A45-9B3D-4ADF647C2763}" dt="2022-02-02T08:49:48.031" v="13982" actId="1076"/>
          <ac:spMkLst>
            <pc:docMk/>
            <pc:sldMk cId="1299518292" sldId="420"/>
            <ac:spMk id="16" creationId="{7CB857E6-799F-4472-8488-44581263997C}"/>
          </ac:spMkLst>
        </pc:spChg>
        <pc:spChg chg="mod">
          <ac:chgData name="Ula Staigyte" userId="f6dd036f-ca91-4ba7-a32e-843cc9983a4c" providerId="ADAL" clId="{025139B8-0A69-4A45-9B3D-4ADF647C2763}" dt="2022-02-02T08:48:58.583" v="13974" actId="20577"/>
          <ac:spMkLst>
            <pc:docMk/>
            <pc:sldMk cId="1299518292" sldId="420"/>
            <ac:spMk id="21" creationId="{280C94D4-F20F-47E7-BF12-28D49CD82220}"/>
          </ac:spMkLst>
        </pc:spChg>
        <pc:spChg chg="mod">
          <ac:chgData name="Ula Staigyte" userId="f6dd036f-ca91-4ba7-a32e-843cc9983a4c" providerId="ADAL" clId="{025139B8-0A69-4A45-9B3D-4ADF647C2763}" dt="2022-02-02T08:48:40.741" v="13951" actId="1076"/>
          <ac:spMkLst>
            <pc:docMk/>
            <pc:sldMk cId="1299518292" sldId="420"/>
            <ac:spMk id="22" creationId="{18BE8302-3D42-45C2-AFF4-7E6F8841CA16}"/>
          </ac:spMkLst>
        </pc:spChg>
        <pc:spChg chg="mod">
          <ac:chgData name="Ula Staigyte" userId="f6dd036f-ca91-4ba7-a32e-843cc9983a4c" providerId="ADAL" clId="{025139B8-0A69-4A45-9B3D-4ADF647C2763}" dt="2022-02-02T08:50:39.835" v="13985" actId="1076"/>
          <ac:spMkLst>
            <pc:docMk/>
            <pc:sldMk cId="1299518292" sldId="420"/>
            <ac:spMk id="23" creationId="{4CD56687-9A16-4566-AC18-2390024D7AAF}"/>
          </ac:spMkLst>
        </pc:spChg>
        <pc:spChg chg="mod">
          <ac:chgData name="Ula Staigyte" userId="f6dd036f-ca91-4ba7-a32e-843cc9983a4c" providerId="ADAL" clId="{025139B8-0A69-4A45-9B3D-4ADF647C2763}" dt="2022-02-03T19:15:32.955" v="17029" actId="1076"/>
          <ac:spMkLst>
            <pc:docMk/>
            <pc:sldMk cId="1299518292" sldId="420"/>
            <ac:spMk id="24" creationId="{4D21C0D7-560D-4F02-B72F-34734D75DC6E}"/>
          </ac:spMkLst>
        </pc:spChg>
        <pc:spChg chg="mod">
          <ac:chgData name="Ula Staigyte" userId="f6dd036f-ca91-4ba7-a32e-843cc9983a4c" providerId="ADAL" clId="{025139B8-0A69-4A45-9B3D-4ADF647C2763}" dt="2022-02-08T19:25:18.407" v="18136" actId="20577"/>
          <ac:spMkLst>
            <pc:docMk/>
            <pc:sldMk cId="1299518292" sldId="420"/>
            <ac:spMk id="26" creationId="{6B26A202-F906-41F2-804C-1CBCF6974237}"/>
          </ac:spMkLst>
        </pc:spChg>
        <pc:spChg chg="add del mod">
          <ac:chgData name="Ula Staigyte" userId="f6dd036f-ca91-4ba7-a32e-843cc9983a4c" providerId="ADAL" clId="{025139B8-0A69-4A45-9B3D-4ADF647C2763}" dt="2022-02-08T19:27:33.841" v="18175" actId="21"/>
          <ac:spMkLst>
            <pc:docMk/>
            <pc:sldMk cId="1299518292" sldId="420"/>
            <ac:spMk id="28" creationId="{A74150C5-621B-4376-90B0-7690134F6CC9}"/>
          </ac:spMkLst>
        </pc:spChg>
        <pc:spChg chg="del">
          <ac:chgData name="Ula Staigyte" userId="f6dd036f-ca91-4ba7-a32e-843cc9983a4c" providerId="ADAL" clId="{025139B8-0A69-4A45-9B3D-4ADF647C2763}" dt="2022-02-02T08:29:22.053" v="13453" actId="478"/>
          <ac:spMkLst>
            <pc:docMk/>
            <pc:sldMk cId="1299518292" sldId="420"/>
            <ac:spMk id="28" creationId="{B1505AF4-5421-49EB-9529-944ECCB731AC}"/>
          </ac:spMkLst>
        </pc:spChg>
        <pc:spChg chg="del mod">
          <ac:chgData name="Ula Staigyte" userId="f6dd036f-ca91-4ba7-a32e-843cc9983a4c" providerId="ADAL" clId="{025139B8-0A69-4A45-9B3D-4ADF647C2763}" dt="2022-02-02T08:29:30.629" v="13456" actId="478"/>
          <ac:spMkLst>
            <pc:docMk/>
            <pc:sldMk cId="1299518292" sldId="420"/>
            <ac:spMk id="29" creationId="{55ED7F29-BD70-4DAC-BBEB-233F69BADD74}"/>
          </ac:spMkLst>
        </pc:spChg>
        <pc:spChg chg="mod">
          <ac:chgData name="Ula Staigyte" userId="f6dd036f-ca91-4ba7-a32e-843cc9983a4c" providerId="ADAL" clId="{025139B8-0A69-4A45-9B3D-4ADF647C2763}" dt="2022-02-02T08:42:10.937" v="13788" actId="14100"/>
          <ac:spMkLst>
            <pc:docMk/>
            <pc:sldMk cId="1299518292" sldId="420"/>
            <ac:spMk id="30" creationId="{6FABF4C2-5F52-4837-B6C1-F1A106E58FB6}"/>
          </ac:spMkLst>
        </pc:spChg>
        <pc:spChg chg="add del">
          <ac:chgData name="Ula Staigyte" userId="f6dd036f-ca91-4ba7-a32e-843cc9983a4c" providerId="ADAL" clId="{025139B8-0A69-4A45-9B3D-4ADF647C2763}" dt="2022-01-28T13:49:30.266" v="5895" actId="22"/>
          <ac:spMkLst>
            <pc:docMk/>
            <pc:sldMk cId="1299518292" sldId="420"/>
            <ac:spMk id="31" creationId="{B87F0AFC-C247-4ACC-AB14-6757CDA3E7C3}"/>
          </ac:spMkLst>
        </pc:spChg>
        <pc:spChg chg="add mod">
          <ac:chgData name="Ula Staigyte" userId="f6dd036f-ca91-4ba7-a32e-843cc9983a4c" providerId="ADAL" clId="{025139B8-0A69-4A45-9B3D-4ADF647C2763}" dt="2022-02-02T08:49:10.018" v="13977" actId="1076"/>
          <ac:spMkLst>
            <pc:docMk/>
            <pc:sldMk cId="1299518292" sldId="420"/>
            <ac:spMk id="31" creationId="{EE7EDC95-8718-4762-8976-BFC0FFFC4C24}"/>
          </ac:spMkLst>
        </pc:spChg>
        <pc:spChg chg="mod">
          <ac:chgData name="Ula Staigyte" userId="f6dd036f-ca91-4ba7-a32e-843cc9983a4c" providerId="ADAL" clId="{025139B8-0A69-4A45-9B3D-4ADF647C2763}" dt="2022-02-02T08:44:02.125" v="13889" actId="14100"/>
          <ac:spMkLst>
            <pc:docMk/>
            <pc:sldMk cId="1299518292" sldId="420"/>
            <ac:spMk id="32" creationId="{E0407C3F-7A9D-4F31-AB7F-25255CB7107C}"/>
          </ac:spMkLst>
        </pc:spChg>
        <pc:spChg chg="del mod">
          <ac:chgData name="Ula Staigyte" userId="f6dd036f-ca91-4ba7-a32e-843cc9983a4c" providerId="ADAL" clId="{025139B8-0A69-4A45-9B3D-4ADF647C2763}" dt="2022-02-02T08:42:36.988" v="13846" actId="478"/>
          <ac:spMkLst>
            <pc:docMk/>
            <pc:sldMk cId="1299518292" sldId="420"/>
            <ac:spMk id="33" creationId="{5D6DC34F-D9DC-46F3-8210-B6486F12A728}"/>
          </ac:spMkLst>
        </pc:spChg>
        <pc:spChg chg="mod">
          <ac:chgData name="Ula Staigyte" userId="f6dd036f-ca91-4ba7-a32e-843cc9983a4c" providerId="ADAL" clId="{025139B8-0A69-4A45-9B3D-4ADF647C2763}" dt="2022-02-03T19:14:48.164" v="17024" actId="123"/>
          <ac:spMkLst>
            <pc:docMk/>
            <pc:sldMk cId="1299518292" sldId="420"/>
            <ac:spMk id="34" creationId="{5ADBD6A1-A4D7-44C5-877F-7894549A1C92}"/>
          </ac:spMkLst>
        </pc:spChg>
        <pc:spChg chg="add del mod">
          <ac:chgData name="Ula Staigyte" userId="f6dd036f-ca91-4ba7-a32e-843cc9983a4c" providerId="ADAL" clId="{025139B8-0A69-4A45-9B3D-4ADF647C2763}" dt="2022-02-02T08:42:07.172" v="13787" actId="478"/>
          <ac:spMkLst>
            <pc:docMk/>
            <pc:sldMk cId="1299518292" sldId="420"/>
            <ac:spMk id="35" creationId="{96B7F1D4-BC6D-4638-9CA2-0E47D675947A}"/>
          </ac:spMkLst>
        </pc:spChg>
        <pc:spChg chg="mod">
          <ac:chgData name="Ula Staigyte" userId="f6dd036f-ca91-4ba7-a32e-843cc9983a4c" providerId="ADAL" clId="{025139B8-0A69-4A45-9B3D-4ADF647C2763}" dt="2022-02-08T17:45:28.408" v="18016" actId="20577"/>
          <ac:spMkLst>
            <pc:docMk/>
            <pc:sldMk cId="1299518292" sldId="420"/>
            <ac:spMk id="36" creationId="{914DB651-3BCC-46DC-9FA5-95AF80D488E6}"/>
          </ac:spMkLst>
        </pc:spChg>
        <pc:spChg chg="mod">
          <ac:chgData name="Ula Staigyte" userId="f6dd036f-ca91-4ba7-a32e-843cc9983a4c" providerId="ADAL" clId="{025139B8-0A69-4A45-9B3D-4ADF647C2763}" dt="2022-02-03T19:15:00.646" v="17028" actId="123"/>
          <ac:spMkLst>
            <pc:docMk/>
            <pc:sldMk cId="1299518292" sldId="420"/>
            <ac:spMk id="37" creationId="{391BCBCB-A9D1-4567-83DB-8DEE3DC001FE}"/>
          </ac:spMkLst>
        </pc:spChg>
        <pc:spChg chg="add del mod">
          <ac:chgData name="Ula Staigyte" userId="f6dd036f-ca91-4ba7-a32e-843cc9983a4c" providerId="ADAL" clId="{025139B8-0A69-4A45-9B3D-4ADF647C2763}" dt="2022-02-02T08:42:05.556" v="13786" actId="478"/>
          <ac:spMkLst>
            <pc:docMk/>
            <pc:sldMk cId="1299518292" sldId="420"/>
            <ac:spMk id="38" creationId="{593E960F-A2DE-407A-88A0-9B30559CCC54}"/>
          </ac:spMkLst>
        </pc:spChg>
        <pc:spChg chg="add mod">
          <ac:chgData name="Ula Staigyte" userId="f6dd036f-ca91-4ba7-a32e-843cc9983a4c" providerId="ADAL" clId="{025139B8-0A69-4A45-9B3D-4ADF647C2763}" dt="2022-02-02T08:45:15.281" v="13905" actId="14100"/>
          <ac:spMkLst>
            <pc:docMk/>
            <pc:sldMk cId="1299518292" sldId="420"/>
            <ac:spMk id="39" creationId="{04E55FD5-7F00-43C1-AEE8-15CEFCF527B7}"/>
          </ac:spMkLst>
        </pc:spChg>
        <pc:grpChg chg="mod">
          <ac:chgData name="Ula Staigyte" userId="f6dd036f-ca91-4ba7-a32e-843cc9983a4c" providerId="ADAL" clId="{025139B8-0A69-4A45-9B3D-4ADF647C2763}" dt="2022-02-02T08:49:41.070" v="13981" actId="1076"/>
          <ac:grpSpMkLst>
            <pc:docMk/>
            <pc:sldMk cId="1299518292" sldId="420"/>
            <ac:grpSpMk id="9" creationId="{08B7D57F-18B1-4010-95E6-E5634A95C8F1}"/>
          </ac:grpSpMkLst>
        </pc:grpChg>
        <pc:grpChg chg="del">
          <ac:chgData name="Ula Staigyte" userId="f6dd036f-ca91-4ba7-a32e-843cc9983a4c" providerId="ADAL" clId="{025139B8-0A69-4A45-9B3D-4ADF647C2763}" dt="2022-02-02T08:47:33.221" v="13935" actId="478"/>
          <ac:grpSpMkLst>
            <pc:docMk/>
            <pc:sldMk cId="1299518292" sldId="420"/>
            <ac:grpSpMk id="10" creationId="{7E23AC6C-320B-49BB-9010-9660057482C1}"/>
          </ac:grpSpMkLst>
        </pc:grpChg>
        <pc:grpChg chg="mod">
          <ac:chgData name="Ula Staigyte" userId="f6dd036f-ca91-4ba7-a32e-843cc9983a4c" providerId="ADAL" clId="{025139B8-0A69-4A45-9B3D-4ADF647C2763}" dt="2022-02-02T08:45:34.410" v="13909" actId="14100"/>
          <ac:grpSpMkLst>
            <pc:docMk/>
            <pc:sldMk cId="1299518292" sldId="420"/>
            <ac:grpSpMk id="19" creationId="{FA1C595D-1230-4A3D-BA0B-F44CE883DCD7}"/>
          </ac:grpSpMkLst>
        </pc:grpChg>
        <pc:grpChg chg="mod">
          <ac:chgData name="Ula Staigyte" userId="f6dd036f-ca91-4ba7-a32e-843cc9983a4c" providerId="ADAL" clId="{025139B8-0A69-4A45-9B3D-4ADF647C2763}" dt="2022-02-02T08:46:12.873" v="13916" actId="14100"/>
          <ac:grpSpMkLst>
            <pc:docMk/>
            <pc:sldMk cId="1299518292" sldId="420"/>
            <ac:grpSpMk id="20" creationId="{FEE7D3A8-BA0B-4D33-9C6E-E162ED5B0362}"/>
          </ac:grpSpMkLst>
        </pc:grpChg>
        <pc:picChg chg="add mod">
          <ac:chgData name="Ula Staigyte" userId="f6dd036f-ca91-4ba7-a32e-843cc9983a4c" providerId="ADAL" clId="{025139B8-0A69-4A45-9B3D-4ADF647C2763}" dt="2022-01-28T13:48:38.397" v="5882" actId="1076"/>
          <ac:picMkLst>
            <pc:docMk/>
            <pc:sldMk cId="1299518292" sldId="420"/>
            <ac:picMk id="3" creationId="{16B90A72-E855-4F74-A010-B71CBE4BA6A7}"/>
          </ac:picMkLst>
        </pc:picChg>
        <pc:picChg chg="del">
          <ac:chgData name="Ula Staigyte" userId="f6dd036f-ca91-4ba7-a32e-843cc9983a4c" providerId="ADAL" clId="{025139B8-0A69-4A45-9B3D-4ADF647C2763}" dt="2022-01-28T13:48:14.235" v="5878" actId="478"/>
          <ac:picMkLst>
            <pc:docMk/>
            <pc:sldMk cId="1299518292" sldId="420"/>
            <ac:picMk id="5" creationId="{0B6E8AEA-FF7A-4563-BF7F-44E4A5DEE908}"/>
          </ac:picMkLst>
        </pc:picChg>
      </pc:sldChg>
      <pc:sldChg chg="modSp new del mod">
        <pc:chgData name="Ula Staigyte" userId="f6dd036f-ca91-4ba7-a32e-843cc9983a4c" providerId="ADAL" clId="{025139B8-0A69-4A45-9B3D-4ADF647C2763}" dt="2022-01-31T15:48:19.371" v="7994" actId="47"/>
        <pc:sldMkLst>
          <pc:docMk/>
          <pc:sldMk cId="2559429488" sldId="421"/>
        </pc:sldMkLst>
        <pc:spChg chg="mod">
          <ac:chgData name="Ula Staigyte" userId="f6dd036f-ca91-4ba7-a32e-843cc9983a4c" providerId="ADAL" clId="{025139B8-0A69-4A45-9B3D-4ADF647C2763}" dt="2022-01-31T12:13:18.332" v="6012" actId="20577"/>
          <ac:spMkLst>
            <pc:docMk/>
            <pc:sldMk cId="2559429488" sldId="421"/>
            <ac:spMk id="3" creationId="{A9ABB537-063E-4C1C-9119-F365A9528397}"/>
          </ac:spMkLst>
        </pc:spChg>
      </pc:sldChg>
      <pc:sldChg chg="modSp new del mod">
        <pc:chgData name="Ula Staigyte" userId="f6dd036f-ca91-4ba7-a32e-843cc9983a4c" providerId="ADAL" clId="{025139B8-0A69-4A45-9B3D-4ADF647C2763}" dt="2022-02-01T14:05:54.931" v="11016" actId="47"/>
        <pc:sldMkLst>
          <pc:docMk/>
          <pc:sldMk cId="2479367425" sldId="422"/>
        </pc:sldMkLst>
        <pc:spChg chg="mod">
          <ac:chgData name="Ula Staigyte" userId="f6dd036f-ca91-4ba7-a32e-843cc9983a4c" providerId="ADAL" clId="{025139B8-0A69-4A45-9B3D-4ADF647C2763}" dt="2022-01-31T12:18:00.061" v="6405" actId="20577"/>
          <ac:spMkLst>
            <pc:docMk/>
            <pc:sldMk cId="2479367425" sldId="422"/>
            <ac:spMk id="3" creationId="{69815D40-08DA-45A1-82B3-9534D1CD05F7}"/>
          </ac:spMkLst>
        </pc:spChg>
      </pc:sldChg>
      <pc:sldChg chg="modSp add mod">
        <pc:chgData name="Ula Staigyte" userId="f6dd036f-ca91-4ba7-a32e-843cc9983a4c" providerId="ADAL" clId="{025139B8-0A69-4A45-9B3D-4ADF647C2763}" dt="2022-01-31T15:49:56.513" v="8034" actId="20577"/>
        <pc:sldMkLst>
          <pc:docMk/>
          <pc:sldMk cId="3882392181" sldId="423"/>
        </pc:sldMkLst>
        <pc:spChg chg="mod">
          <ac:chgData name="Ula Staigyte" userId="f6dd036f-ca91-4ba7-a32e-843cc9983a4c" providerId="ADAL" clId="{025139B8-0A69-4A45-9B3D-4ADF647C2763}" dt="2022-01-31T14:49:11.134" v="7324" actId="20577"/>
          <ac:spMkLst>
            <pc:docMk/>
            <pc:sldMk cId="3882392181" sldId="423"/>
            <ac:spMk id="22" creationId="{57A2FA07-B90D-48C6-9BBE-945D54788BA9}"/>
          </ac:spMkLst>
        </pc:spChg>
        <pc:spChg chg="mod">
          <ac:chgData name="Ula Staigyte" userId="f6dd036f-ca91-4ba7-a32e-843cc9983a4c" providerId="ADAL" clId="{025139B8-0A69-4A45-9B3D-4ADF647C2763}" dt="2022-01-31T14:49:04.093" v="7322" actId="14100"/>
          <ac:spMkLst>
            <pc:docMk/>
            <pc:sldMk cId="3882392181" sldId="423"/>
            <ac:spMk id="24" creationId="{FDF17BCC-962E-4783-B2A1-DD3DBEE6D313}"/>
          </ac:spMkLst>
        </pc:spChg>
        <pc:spChg chg="mod">
          <ac:chgData name="Ula Staigyte" userId="f6dd036f-ca91-4ba7-a32e-843cc9983a4c" providerId="ADAL" clId="{025139B8-0A69-4A45-9B3D-4ADF647C2763}" dt="2022-01-31T15:49:56.513" v="8034" actId="20577"/>
          <ac:spMkLst>
            <pc:docMk/>
            <pc:sldMk cId="3882392181" sldId="423"/>
            <ac:spMk id="28" creationId="{439E347E-6E95-4F9A-94DB-33823324AB72}"/>
          </ac:spMkLst>
        </pc:spChg>
        <pc:spChg chg="mod">
          <ac:chgData name="Ula Staigyte" userId="f6dd036f-ca91-4ba7-a32e-843cc9983a4c" providerId="ADAL" clId="{025139B8-0A69-4A45-9B3D-4ADF647C2763}" dt="2022-01-31T14:49:18.920" v="7325" actId="14100"/>
          <ac:spMkLst>
            <pc:docMk/>
            <pc:sldMk cId="3882392181" sldId="423"/>
            <ac:spMk id="38" creationId="{CE778F19-9973-4789-8210-501FEA8641BC}"/>
          </ac:spMkLst>
        </pc:spChg>
        <pc:spChg chg="mod">
          <ac:chgData name="Ula Staigyte" userId="f6dd036f-ca91-4ba7-a32e-843cc9983a4c" providerId="ADAL" clId="{025139B8-0A69-4A45-9B3D-4ADF647C2763}" dt="2022-01-31T14:48:37.232" v="7321" actId="207"/>
          <ac:spMkLst>
            <pc:docMk/>
            <pc:sldMk cId="3882392181" sldId="423"/>
            <ac:spMk id="47" creationId="{2A830FF9-5090-4B04-8449-AD8528C0503B}"/>
          </ac:spMkLst>
        </pc:spChg>
      </pc:sldChg>
      <pc:sldChg chg="addSp modSp add mod">
        <pc:chgData name="Ula Staigyte" userId="f6dd036f-ca91-4ba7-a32e-843cc9983a4c" providerId="ADAL" clId="{025139B8-0A69-4A45-9B3D-4ADF647C2763}" dt="2022-01-31T15:49:48.312" v="8020" actId="20577"/>
        <pc:sldMkLst>
          <pc:docMk/>
          <pc:sldMk cId="4019440586" sldId="424"/>
        </pc:sldMkLst>
        <pc:spChg chg="mod">
          <ac:chgData name="Ula Staigyte" userId="f6dd036f-ca91-4ba7-a32e-843cc9983a4c" providerId="ADAL" clId="{025139B8-0A69-4A45-9B3D-4ADF647C2763}" dt="2022-01-31T15:01:51.280" v="7348" actId="207"/>
          <ac:spMkLst>
            <pc:docMk/>
            <pc:sldMk cId="4019440586" sldId="424"/>
            <ac:spMk id="22" creationId="{57A2FA07-B90D-48C6-9BBE-945D54788BA9}"/>
          </ac:spMkLst>
        </pc:spChg>
        <pc:spChg chg="mod ord">
          <ac:chgData name="Ula Staigyte" userId="f6dd036f-ca91-4ba7-a32e-843cc9983a4c" providerId="ADAL" clId="{025139B8-0A69-4A45-9B3D-4ADF647C2763}" dt="2022-01-31T14:50:25.053" v="7335" actId="1076"/>
          <ac:spMkLst>
            <pc:docMk/>
            <pc:sldMk cId="4019440586" sldId="424"/>
            <ac:spMk id="24" creationId="{FDF17BCC-962E-4783-B2A1-DD3DBEE6D313}"/>
          </ac:spMkLst>
        </pc:spChg>
        <pc:spChg chg="mod">
          <ac:chgData name="Ula Staigyte" userId="f6dd036f-ca91-4ba7-a32e-843cc9983a4c" providerId="ADAL" clId="{025139B8-0A69-4A45-9B3D-4ADF647C2763}" dt="2022-01-31T15:49:48.312" v="8020" actId="20577"/>
          <ac:spMkLst>
            <pc:docMk/>
            <pc:sldMk cId="4019440586" sldId="424"/>
            <ac:spMk id="28" creationId="{439E347E-6E95-4F9A-94DB-33823324AB72}"/>
          </ac:spMkLst>
        </pc:spChg>
        <pc:spChg chg="add mod">
          <ac:chgData name="Ula Staigyte" userId="f6dd036f-ca91-4ba7-a32e-843cc9983a4c" providerId="ADAL" clId="{025139B8-0A69-4A45-9B3D-4ADF647C2763}" dt="2022-01-31T15:00:56.195" v="7344" actId="20577"/>
          <ac:spMkLst>
            <pc:docMk/>
            <pc:sldMk cId="4019440586" sldId="424"/>
            <ac:spMk id="30" creationId="{ABCA595E-0BDA-47E4-93B8-EBC3210675AF}"/>
          </ac:spMkLst>
        </pc:spChg>
        <pc:spChg chg="mod">
          <ac:chgData name="Ula Staigyte" userId="f6dd036f-ca91-4ba7-a32e-843cc9983a4c" providerId="ADAL" clId="{025139B8-0A69-4A45-9B3D-4ADF647C2763}" dt="2022-01-31T15:01:39.800" v="7346" actId="207"/>
          <ac:spMkLst>
            <pc:docMk/>
            <pc:sldMk cId="4019440586" sldId="424"/>
            <ac:spMk id="47" creationId="{2A830FF9-5090-4B04-8449-AD8528C0503B}"/>
          </ac:spMkLst>
        </pc:spChg>
        <pc:grpChg chg="mod">
          <ac:chgData name="Ula Staigyte" userId="f6dd036f-ca91-4ba7-a32e-843cc9983a4c" providerId="ADAL" clId="{025139B8-0A69-4A45-9B3D-4ADF647C2763}" dt="2022-01-31T14:50:13.482" v="7334" actId="1076"/>
          <ac:grpSpMkLst>
            <pc:docMk/>
            <pc:sldMk cId="4019440586" sldId="424"/>
            <ac:grpSpMk id="2" creationId="{599F2123-1FF5-4201-9F30-E151D3B1F3CB}"/>
          </ac:grpSpMkLst>
        </pc:grpChg>
        <pc:grpChg chg="ord">
          <ac:chgData name="Ula Staigyte" userId="f6dd036f-ca91-4ba7-a32e-843cc9983a4c" providerId="ADAL" clId="{025139B8-0A69-4A45-9B3D-4ADF647C2763}" dt="2022-01-31T14:50:10.445" v="7332" actId="167"/>
          <ac:grpSpMkLst>
            <pc:docMk/>
            <pc:sldMk cId="4019440586" sldId="424"/>
            <ac:grpSpMk id="27" creationId="{BD5BB3D2-8823-4504-83AA-B8AFA204DCAA}"/>
          </ac:grpSpMkLst>
        </pc:grpChg>
      </pc:sldChg>
      <pc:sldChg chg="addSp delSp modSp new mod ord">
        <pc:chgData name="Ula Staigyte" userId="f6dd036f-ca91-4ba7-a32e-843cc9983a4c" providerId="ADAL" clId="{025139B8-0A69-4A45-9B3D-4ADF647C2763}" dt="2022-02-03T19:35:04.816" v="17397" actId="123"/>
        <pc:sldMkLst>
          <pc:docMk/>
          <pc:sldMk cId="3953075632" sldId="425"/>
        </pc:sldMkLst>
        <pc:spChg chg="mod">
          <ac:chgData name="Ula Staigyte" userId="f6dd036f-ca91-4ba7-a32e-843cc9983a4c" providerId="ADAL" clId="{025139B8-0A69-4A45-9B3D-4ADF647C2763}" dt="2022-02-03T19:35:04.816" v="17397" actId="123"/>
          <ac:spMkLst>
            <pc:docMk/>
            <pc:sldMk cId="3953075632" sldId="425"/>
            <ac:spMk id="2" creationId="{DEF5E7F1-1549-475A-845B-99EE7F1EDBF9}"/>
          </ac:spMkLst>
        </pc:spChg>
        <pc:spChg chg="del">
          <ac:chgData name="Ula Staigyte" userId="f6dd036f-ca91-4ba7-a32e-843cc9983a4c" providerId="ADAL" clId="{025139B8-0A69-4A45-9B3D-4ADF647C2763}" dt="2022-02-01T12:29:27.372" v="9257" actId="478"/>
          <ac:spMkLst>
            <pc:docMk/>
            <pc:sldMk cId="3953075632" sldId="425"/>
            <ac:spMk id="3" creationId="{CFE6FD39-5BAF-49FD-BADB-03F0D7E4C035}"/>
          </ac:spMkLst>
        </pc:spChg>
        <pc:spChg chg="mod">
          <ac:chgData name="Ula Staigyte" userId="f6dd036f-ca91-4ba7-a32e-843cc9983a4c" providerId="ADAL" clId="{025139B8-0A69-4A45-9B3D-4ADF647C2763}" dt="2022-02-01T12:37:59.527" v="9859" actId="1076"/>
          <ac:spMkLst>
            <pc:docMk/>
            <pc:sldMk cId="3953075632" sldId="425"/>
            <ac:spMk id="5" creationId="{B4717275-EC2C-4E22-9C15-2C566D1D41E3}"/>
          </ac:spMkLst>
        </pc:spChg>
        <pc:spChg chg="mod">
          <ac:chgData name="Ula Staigyte" userId="f6dd036f-ca91-4ba7-a32e-843cc9983a4c" providerId="ADAL" clId="{025139B8-0A69-4A45-9B3D-4ADF647C2763}" dt="2022-02-01T12:38:16.247" v="9862" actId="1076"/>
          <ac:spMkLst>
            <pc:docMk/>
            <pc:sldMk cId="3953075632" sldId="425"/>
            <ac:spMk id="6" creationId="{9AD38E0C-1B93-4AE3-98F3-5B1AB3D57582}"/>
          </ac:spMkLst>
        </pc:spChg>
        <pc:spChg chg="mod">
          <ac:chgData name="Ula Staigyte" userId="f6dd036f-ca91-4ba7-a32e-843cc9983a4c" providerId="ADAL" clId="{025139B8-0A69-4A45-9B3D-4ADF647C2763}" dt="2022-01-31T15:20:57.942" v="7718"/>
          <ac:spMkLst>
            <pc:docMk/>
            <pc:sldMk cId="3953075632" sldId="425"/>
            <ac:spMk id="7" creationId="{8B327B68-ED8D-4D0C-87C0-32EBF594D715}"/>
          </ac:spMkLst>
        </pc:spChg>
        <pc:spChg chg="mod">
          <ac:chgData name="Ula Staigyte" userId="f6dd036f-ca91-4ba7-a32e-843cc9983a4c" providerId="ADAL" clId="{025139B8-0A69-4A45-9B3D-4ADF647C2763}" dt="2022-01-31T15:20:57.942" v="7718"/>
          <ac:spMkLst>
            <pc:docMk/>
            <pc:sldMk cId="3953075632" sldId="425"/>
            <ac:spMk id="8" creationId="{2ADFC15F-4411-43DF-8A81-96884E1309E3}"/>
          </ac:spMkLst>
        </pc:spChg>
        <pc:spChg chg="mod">
          <ac:chgData name="Ula Staigyte" userId="f6dd036f-ca91-4ba7-a32e-843cc9983a4c" providerId="ADAL" clId="{025139B8-0A69-4A45-9B3D-4ADF647C2763}" dt="2022-01-31T15:20:57.942" v="7718"/>
          <ac:spMkLst>
            <pc:docMk/>
            <pc:sldMk cId="3953075632" sldId="425"/>
            <ac:spMk id="9" creationId="{6AD920EE-EB81-46FF-AEBB-692F676DFECB}"/>
          </ac:spMkLst>
        </pc:spChg>
        <pc:spChg chg="mod">
          <ac:chgData name="Ula Staigyte" userId="f6dd036f-ca91-4ba7-a32e-843cc9983a4c" providerId="ADAL" clId="{025139B8-0A69-4A45-9B3D-4ADF647C2763}" dt="2022-01-31T15:20:57.942" v="7718"/>
          <ac:spMkLst>
            <pc:docMk/>
            <pc:sldMk cId="3953075632" sldId="425"/>
            <ac:spMk id="10" creationId="{0737E022-C7B9-4C6D-8839-EDE6C19C255A}"/>
          </ac:spMkLst>
        </pc:spChg>
        <pc:spChg chg="mod">
          <ac:chgData name="Ula Staigyte" userId="f6dd036f-ca91-4ba7-a32e-843cc9983a4c" providerId="ADAL" clId="{025139B8-0A69-4A45-9B3D-4ADF647C2763}" dt="2022-01-31T15:20:57.942" v="7718"/>
          <ac:spMkLst>
            <pc:docMk/>
            <pc:sldMk cId="3953075632" sldId="425"/>
            <ac:spMk id="11" creationId="{D7D4E127-7362-4E5E-85F4-C4514DA9064B}"/>
          </ac:spMkLst>
        </pc:spChg>
        <pc:spChg chg="mod">
          <ac:chgData name="Ula Staigyte" userId="f6dd036f-ca91-4ba7-a32e-843cc9983a4c" providerId="ADAL" clId="{025139B8-0A69-4A45-9B3D-4ADF647C2763}" dt="2022-01-31T15:20:57.942" v="7718"/>
          <ac:spMkLst>
            <pc:docMk/>
            <pc:sldMk cId="3953075632" sldId="425"/>
            <ac:spMk id="12" creationId="{4617F1B2-F8FF-4A53-A167-A9047C22653F}"/>
          </ac:spMkLst>
        </pc:spChg>
        <pc:spChg chg="mod">
          <ac:chgData name="Ula Staigyte" userId="f6dd036f-ca91-4ba7-a32e-843cc9983a4c" providerId="ADAL" clId="{025139B8-0A69-4A45-9B3D-4ADF647C2763}" dt="2022-01-31T15:20:57.942" v="7718"/>
          <ac:spMkLst>
            <pc:docMk/>
            <pc:sldMk cId="3953075632" sldId="425"/>
            <ac:spMk id="13" creationId="{593550ED-468C-404F-8F5A-1725D0AA224E}"/>
          </ac:spMkLst>
        </pc:spChg>
        <pc:spChg chg="mod">
          <ac:chgData name="Ula Staigyte" userId="f6dd036f-ca91-4ba7-a32e-843cc9983a4c" providerId="ADAL" clId="{025139B8-0A69-4A45-9B3D-4ADF647C2763}" dt="2022-01-31T15:20:57.942" v="7718"/>
          <ac:spMkLst>
            <pc:docMk/>
            <pc:sldMk cId="3953075632" sldId="425"/>
            <ac:spMk id="14" creationId="{EBDA5772-6079-446A-B2A1-18CEC53FA7E3}"/>
          </ac:spMkLst>
        </pc:spChg>
        <pc:spChg chg="mod">
          <ac:chgData name="Ula Staigyte" userId="f6dd036f-ca91-4ba7-a32e-843cc9983a4c" providerId="ADAL" clId="{025139B8-0A69-4A45-9B3D-4ADF647C2763}" dt="2022-01-31T15:20:57.942" v="7718"/>
          <ac:spMkLst>
            <pc:docMk/>
            <pc:sldMk cId="3953075632" sldId="425"/>
            <ac:spMk id="15" creationId="{FD1624B7-4253-4942-8F39-7E054EC704DB}"/>
          </ac:spMkLst>
        </pc:spChg>
        <pc:spChg chg="mod">
          <ac:chgData name="Ula Staigyte" userId="f6dd036f-ca91-4ba7-a32e-843cc9983a4c" providerId="ADAL" clId="{025139B8-0A69-4A45-9B3D-4ADF647C2763}" dt="2022-01-31T15:20:57.942" v="7718"/>
          <ac:spMkLst>
            <pc:docMk/>
            <pc:sldMk cId="3953075632" sldId="425"/>
            <ac:spMk id="16" creationId="{3DEEF11E-322A-48B1-BFA3-407D28AFE893}"/>
          </ac:spMkLst>
        </pc:spChg>
        <pc:spChg chg="mod">
          <ac:chgData name="Ula Staigyte" userId="f6dd036f-ca91-4ba7-a32e-843cc9983a4c" providerId="ADAL" clId="{025139B8-0A69-4A45-9B3D-4ADF647C2763}" dt="2022-02-01T12:38:02.449" v="9860" actId="1076"/>
          <ac:spMkLst>
            <pc:docMk/>
            <pc:sldMk cId="3953075632" sldId="425"/>
            <ac:spMk id="17" creationId="{A8DAB49C-9572-4C05-99D8-0AD15A667781}"/>
          </ac:spMkLst>
        </pc:spChg>
        <pc:spChg chg="mod">
          <ac:chgData name="Ula Staigyte" userId="f6dd036f-ca91-4ba7-a32e-843cc9983a4c" providerId="ADAL" clId="{025139B8-0A69-4A45-9B3D-4ADF647C2763}" dt="2022-02-01T12:38:07.813" v="9861" actId="1076"/>
          <ac:spMkLst>
            <pc:docMk/>
            <pc:sldMk cId="3953075632" sldId="425"/>
            <ac:spMk id="18" creationId="{596E531B-5581-4FEE-BDE7-239BE6A20CEB}"/>
          </ac:spMkLst>
        </pc:spChg>
        <pc:spChg chg="mod">
          <ac:chgData name="Ula Staigyte" userId="f6dd036f-ca91-4ba7-a32e-843cc9983a4c" providerId="ADAL" clId="{025139B8-0A69-4A45-9B3D-4ADF647C2763}" dt="2022-01-31T15:20:57.942" v="7718"/>
          <ac:spMkLst>
            <pc:docMk/>
            <pc:sldMk cId="3953075632" sldId="425"/>
            <ac:spMk id="19" creationId="{29D71E2A-2278-4DFF-99D5-B15D437592B2}"/>
          </ac:spMkLst>
        </pc:spChg>
        <pc:spChg chg="mod">
          <ac:chgData name="Ula Staigyte" userId="f6dd036f-ca91-4ba7-a32e-843cc9983a4c" providerId="ADAL" clId="{025139B8-0A69-4A45-9B3D-4ADF647C2763}" dt="2022-01-31T15:20:57.942" v="7718"/>
          <ac:spMkLst>
            <pc:docMk/>
            <pc:sldMk cId="3953075632" sldId="425"/>
            <ac:spMk id="20" creationId="{48A85F3E-0C95-457C-8F35-B5303EE7950C}"/>
          </ac:spMkLst>
        </pc:spChg>
        <pc:spChg chg="mod">
          <ac:chgData name="Ula Staigyte" userId="f6dd036f-ca91-4ba7-a32e-843cc9983a4c" providerId="ADAL" clId="{025139B8-0A69-4A45-9B3D-4ADF647C2763}" dt="2022-01-31T15:20:57.942" v="7718"/>
          <ac:spMkLst>
            <pc:docMk/>
            <pc:sldMk cId="3953075632" sldId="425"/>
            <ac:spMk id="21" creationId="{278E1C35-2A63-4A29-BA54-AF109C6B80EB}"/>
          </ac:spMkLst>
        </pc:spChg>
        <pc:spChg chg="mod">
          <ac:chgData name="Ula Staigyte" userId="f6dd036f-ca91-4ba7-a32e-843cc9983a4c" providerId="ADAL" clId="{025139B8-0A69-4A45-9B3D-4ADF647C2763}" dt="2022-01-31T15:20:57.942" v="7718"/>
          <ac:spMkLst>
            <pc:docMk/>
            <pc:sldMk cId="3953075632" sldId="425"/>
            <ac:spMk id="22" creationId="{96A307A7-96BE-4B62-80A5-D733F5F41A48}"/>
          </ac:spMkLst>
        </pc:spChg>
        <pc:spChg chg="mod">
          <ac:chgData name="Ula Staigyte" userId="f6dd036f-ca91-4ba7-a32e-843cc9983a4c" providerId="ADAL" clId="{025139B8-0A69-4A45-9B3D-4ADF647C2763}" dt="2022-01-31T15:20:57.942" v="7718"/>
          <ac:spMkLst>
            <pc:docMk/>
            <pc:sldMk cId="3953075632" sldId="425"/>
            <ac:spMk id="23" creationId="{D14EFB0E-62E6-404A-A5C6-C0D7B46C123F}"/>
          </ac:spMkLst>
        </pc:spChg>
        <pc:spChg chg="add del mod">
          <ac:chgData name="Ula Staigyte" userId="f6dd036f-ca91-4ba7-a32e-843cc9983a4c" providerId="ADAL" clId="{025139B8-0A69-4A45-9B3D-4ADF647C2763}" dt="2022-02-01T12:31:52.706" v="9327" actId="478"/>
          <ac:spMkLst>
            <pc:docMk/>
            <pc:sldMk cId="3953075632" sldId="425"/>
            <ac:spMk id="24" creationId="{A5987B8E-6395-49F1-B937-BA3F07B94430}"/>
          </ac:spMkLst>
        </pc:spChg>
        <pc:grpChg chg="add mod">
          <ac:chgData name="Ula Staigyte" userId="f6dd036f-ca91-4ba7-a32e-843cc9983a4c" providerId="ADAL" clId="{025139B8-0A69-4A45-9B3D-4ADF647C2763}" dt="2022-02-01T14:10:40.444" v="11022" actId="1076"/>
          <ac:grpSpMkLst>
            <pc:docMk/>
            <pc:sldMk cId="3953075632" sldId="425"/>
            <ac:grpSpMk id="4" creationId="{4D3DDAE5-C32C-4C58-8CAA-82EACC92DBA9}"/>
          </ac:grpSpMkLst>
        </pc:grpChg>
      </pc:sldChg>
      <pc:sldChg chg="addSp delSp modSp new mod">
        <pc:chgData name="Ula Staigyte" userId="f6dd036f-ca91-4ba7-a32e-843cc9983a4c" providerId="ADAL" clId="{025139B8-0A69-4A45-9B3D-4ADF647C2763}" dt="2022-02-01T11:32:20.289" v="8239" actId="20577"/>
        <pc:sldMkLst>
          <pc:docMk/>
          <pc:sldMk cId="2795334785" sldId="426"/>
        </pc:sldMkLst>
        <pc:spChg chg="mod">
          <ac:chgData name="Ula Staigyte" userId="f6dd036f-ca91-4ba7-a32e-843cc9983a4c" providerId="ADAL" clId="{025139B8-0A69-4A45-9B3D-4ADF647C2763}" dt="2022-02-01T11:32:20.289" v="8239" actId="20577"/>
          <ac:spMkLst>
            <pc:docMk/>
            <pc:sldMk cId="2795334785" sldId="426"/>
            <ac:spMk id="2" creationId="{9EC8B8AE-FCA9-4BE4-B28D-28946FEFE017}"/>
          </ac:spMkLst>
        </pc:spChg>
        <pc:spChg chg="add del">
          <ac:chgData name="Ula Staigyte" userId="f6dd036f-ca91-4ba7-a32e-843cc9983a4c" providerId="ADAL" clId="{025139B8-0A69-4A45-9B3D-4ADF647C2763}" dt="2022-01-31T15:32:05.654" v="7759"/>
          <ac:spMkLst>
            <pc:docMk/>
            <pc:sldMk cId="2795334785" sldId="426"/>
            <ac:spMk id="3" creationId="{338325D1-946F-479A-8AC9-76D4FCD91EA1}"/>
          </ac:spMkLst>
        </pc:spChg>
        <pc:spChg chg="add del mod">
          <ac:chgData name="Ula Staigyte" userId="f6dd036f-ca91-4ba7-a32e-843cc9983a4c" providerId="ADAL" clId="{025139B8-0A69-4A45-9B3D-4ADF647C2763}" dt="2022-01-31T15:31:38.072" v="7758"/>
          <ac:spMkLst>
            <pc:docMk/>
            <pc:sldMk cId="2795334785" sldId="426"/>
            <ac:spMk id="5" creationId="{D352F042-22CC-4AEB-B7B6-DB57495FAA5D}"/>
          </ac:spMkLst>
        </pc:spChg>
        <pc:spChg chg="add del mod">
          <ac:chgData name="Ula Staigyte" userId="f6dd036f-ca91-4ba7-a32e-843cc9983a4c" providerId="ADAL" clId="{025139B8-0A69-4A45-9B3D-4ADF647C2763}" dt="2022-01-31T15:31:38.072" v="7758"/>
          <ac:spMkLst>
            <pc:docMk/>
            <pc:sldMk cId="2795334785" sldId="426"/>
            <ac:spMk id="6" creationId="{CD992B6C-A6CE-40F1-A3BC-60CA07A7D4B0}"/>
          </ac:spMkLst>
        </pc:spChg>
        <pc:spChg chg="add del mod">
          <ac:chgData name="Ula Staigyte" userId="f6dd036f-ca91-4ba7-a32e-843cc9983a4c" providerId="ADAL" clId="{025139B8-0A69-4A45-9B3D-4ADF647C2763}" dt="2022-01-31T15:32:16.033" v="7762" actId="478"/>
          <ac:spMkLst>
            <pc:docMk/>
            <pc:sldMk cId="2795334785" sldId="426"/>
            <ac:spMk id="8" creationId="{28E73ACD-48DB-4317-85BE-557EBA767B0C}"/>
          </ac:spMkLst>
        </pc:spChg>
        <pc:spChg chg="add del mod">
          <ac:chgData name="Ula Staigyte" userId="f6dd036f-ca91-4ba7-a32e-843cc9983a4c" providerId="ADAL" clId="{025139B8-0A69-4A45-9B3D-4ADF647C2763}" dt="2022-01-31T15:32:16.033" v="7762" actId="478"/>
          <ac:spMkLst>
            <pc:docMk/>
            <pc:sldMk cId="2795334785" sldId="426"/>
            <ac:spMk id="9" creationId="{C3435C4F-55A5-4BAF-8AB2-4EB1B4C25B9C}"/>
          </ac:spMkLst>
        </pc:spChg>
        <pc:spChg chg="add del mod">
          <ac:chgData name="Ula Staigyte" userId="f6dd036f-ca91-4ba7-a32e-843cc9983a4c" providerId="ADAL" clId="{025139B8-0A69-4A45-9B3D-4ADF647C2763}" dt="2022-01-31T15:32:19.354" v="7763"/>
          <ac:spMkLst>
            <pc:docMk/>
            <pc:sldMk cId="2795334785" sldId="426"/>
            <ac:spMk id="10" creationId="{B84CCC01-7246-457A-BD9C-FD9F5772ED27}"/>
          </ac:spMkLst>
        </pc:spChg>
        <pc:spChg chg="add del mod">
          <ac:chgData name="Ula Staigyte" userId="f6dd036f-ca91-4ba7-a32e-843cc9983a4c" providerId="ADAL" clId="{025139B8-0A69-4A45-9B3D-4ADF647C2763}" dt="2022-01-31T15:32:22.023" v="7764" actId="478"/>
          <ac:spMkLst>
            <pc:docMk/>
            <pc:sldMk cId="2795334785" sldId="426"/>
            <ac:spMk id="12" creationId="{1B2F042D-3A67-46B4-A79D-38C84A357A84}"/>
          </ac:spMkLst>
        </pc:spChg>
        <pc:spChg chg="add del mod">
          <ac:chgData name="Ula Staigyte" userId="f6dd036f-ca91-4ba7-a32e-843cc9983a4c" providerId="ADAL" clId="{025139B8-0A69-4A45-9B3D-4ADF647C2763}" dt="2022-01-31T15:32:22.023" v="7764" actId="478"/>
          <ac:spMkLst>
            <pc:docMk/>
            <pc:sldMk cId="2795334785" sldId="426"/>
            <ac:spMk id="13" creationId="{56751ED4-FB7E-4FE7-B354-5F55B1252479}"/>
          </ac:spMkLst>
        </pc:spChg>
        <pc:spChg chg="add del mod">
          <ac:chgData name="Ula Staigyte" userId="f6dd036f-ca91-4ba7-a32e-843cc9983a4c" providerId="ADAL" clId="{025139B8-0A69-4A45-9B3D-4ADF647C2763}" dt="2022-01-31T15:33:54.554" v="7769" actId="478"/>
          <ac:spMkLst>
            <pc:docMk/>
            <pc:sldMk cId="2795334785" sldId="426"/>
            <ac:spMk id="14" creationId="{2039D2EF-76F0-4AF9-92B3-3FDDE3F9E284}"/>
          </ac:spMkLst>
        </pc:spChg>
        <pc:spChg chg="add mod">
          <ac:chgData name="Ula Staigyte" userId="f6dd036f-ca91-4ba7-a32e-843cc9983a4c" providerId="ADAL" clId="{025139B8-0A69-4A45-9B3D-4ADF647C2763}" dt="2022-01-31T15:37:01.025" v="7824" actId="2085"/>
          <ac:spMkLst>
            <pc:docMk/>
            <pc:sldMk cId="2795334785" sldId="426"/>
            <ac:spMk id="15" creationId="{C84A1766-7D5E-472F-9E4B-A33F8B21C45E}"/>
          </ac:spMkLst>
        </pc:spChg>
        <pc:spChg chg="add mod">
          <ac:chgData name="Ula Staigyte" userId="f6dd036f-ca91-4ba7-a32e-843cc9983a4c" providerId="ADAL" clId="{025139B8-0A69-4A45-9B3D-4ADF647C2763}" dt="2022-01-31T15:37:04.799" v="7825" actId="2085"/>
          <ac:spMkLst>
            <pc:docMk/>
            <pc:sldMk cId="2795334785" sldId="426"/>
            <ac:spMk id="16" creationId="{23F782A6-1AD5-49E6-9216-206747644DD2}"/>
          </ac:spMkLst>
        </pc:spChg>
        <pc:spChg chg="add mod">
          <ac:chgData name="Ula Staigyte" userId="f6dd036f-ca91-4ba7-a32e-843cc9983a4c" providerId="ADAL" clId="{025139B8-0A69-4A45-9B3D-4ADF647C2763}" dt="2022-01-31T15:40:05.819" v="7875" actId="207"/>
          <ac:spMkLst>
            <pc:docMk/>
            <pc:sldMk cId="2795334785" sldId="426"/>
            <ac:spMk id="17" creationId="{83ACA927-2D27-4923-AF14-0BEA7DA8105C}"/>
          </ac:spMkLst>
        </pc:spChg>
        <pc:spChg chg="add mod">
          <ac:chgData name="Ula Staigyte" userId="f6dd036f-ca91-4ba7-a32e-843cc9983a4c" providerId="ADAL" clId="{025139B8-0A69-4A45-9B3D-4ADF647C2763}" dt="2022-01-31T15:39:17.154" v="7853" actId="113"/>
          <ac:spMkLst>
            <pc:docMk/>
            <pc:sldMk cId="2795334785" sldId="426"/>
            <ac:spMk id="18" creationId="{96C18DBD-EE50-4A29-A29F-54EA6F0780AA}"/>
          </ac:spMkLst>
        </pc:spChg>
        <pc:spChg chg="add mod">
          <ac:chgData name="Ula Staigyte" userId="f6dd036f-ca91-4ba7-a32e-843cc9983a4c" providerId="ADAL" clId="{025139B8-0A69-4A45-9B3D-4ADF647C2763}" dt="2022-01-31T15:38:35.071" v="7843" actId="122"/>
          <ac:spMkLst>
            <pc:docMk/>
            <pc:sldMk cId="2795334785" sldId="426"/>
            <ac:spMk id="19" creationId="{92EA9A80-E021-447A-A122-F75E5B81E79E}"/>
          </ac:spMkLst>
        </pc:spChg>
        <pc:spChg chg="add mod">
          <ac:chgData name="Ula Staigyte" userId="f6dd036f-ca91-4ba7-a32e-843cc9983a4c" providerId="ADAL" clId="{025139B8-0A69-4A45-9B3D-4ADF647C2763}" dt="2022-01-31T15:40:09.669" v="7876" actId="207"/>
          <ac:spMkLst>
            <pc:docMk/>
            <pc:sldMk cId="2795334785" sldId="426"/>
            <ac:spMk id="20" creationId="{EA50B100-4933-4126-A64D-3BC2533DEC14}"/>
          </ac:spMkLst>
        </pc:spChg>
        <pc:spChg chg="add mod">
          <ac:chgData name="Ula Staigyte" userId="f6dd036f-ca91-4ba7-a32e-843cc9983a4c" providerId="ADAL" clId="{025139B8-0A69-4A45-9B3D-4ADF647C2763}" dt="2022-01-31T15:40:22.012" v="7880" actId="20577"/>
          <ac:spMkLst>
            <pc:docMk/>
            <pc:sldMk cId="2795334785" sldId="426"/>
            <ac:spMk id="21" creationId="{43915FCC-565A-4EBE-8A2B-ECCD92B9FF09}"/>
          </ac:spMkLst>
        </pc:spChg>
        <pc:spChg chg="add mod">
          <ac:chgData name="Ula Staigyte" userId="f6dd036f-ca91-4ba7-a32e-843cc9983a4c" providerId="ADAL" clId="{025139B8-0A69-4A45-9B3D-4ADF647C2763}" dt="2022-01-31T15:41:59.849" v="7897" actId="14100"/>
          <ac:spMkLst>
            <pc:docMk/>
            <pc:sldMk cId="2795334785" sldId="426"/>
            <ac:spMk id="22" creationId="{8C7BD469-E23C-4C13-8793-DA39A859ED91}"/>
          </ac:spMkLst>
        </pc:spChg>
        <pc:spChg chg="add mod">
          <ac:chgData name="Ula Staigyte" userId="f6dd036f-ca91-4ba7-a32e-843cc9983a4c" providerId="ADAL" clId="{025139B8-0A69-4A45-9B3D-4ADF647C2763}" dt="2022-01-31T15:41:10.282" v="7888" actId="113"/>
          <ac:spMkLst>
            <pc:docMk/>
            <pc:sldMk cId="2795334785" sldId="426"/>
            <ac:spMk id="23" creationId="{721F6D88-74EC-4AF7-A420-F5B170AD9DC7}"/>
          </ac:spMkLst>
        </pc:spChg>
        <pc:spChg chg="add mod">
          <ac:chgData name="Ula Staigyte" userId="f6dd036f-ca91-4ba7-a32e-843cc9983a4c" providerId="ADAL" clId="{025139B8-0A69-4A45-9B3D-4ADF647C2763}" dt="2022-01-31T15:41:54.593" v="7895" actId="14100"/>
          <ac:spMkLst>
            <pc:docMk/>
            <pc:sldMk cId="2795334785" sldId="426"/>
            <ac:spMk id="24" creationId="{79CC2B17-6A40-438E-ACB4-7589A47947A0}"/>
          </ac:spMkLst>
        </pc:spChg>
        <pc:spChg chg="add mod">
          <ac:chgData name="Ula Staigyte" userId="f6dd036f-ca91-4ba7-a32e-843cc9983a4c" providerId="ADAL" clId="{025139B8-0A69-4A45-9B3D-4ADF647C2763}" dt="2022-01-31T15:42:19.387" v="7901" actId="20577"/>
          <ac:spMkLst>
            <pc:docMk/>
            <pc:sldMk cId="2795334785" sldId="426"/>
            <ac:spMk id="25" creationId="{713BAD37-3794-4919-B9BE-8E33C9E0A5B2}"/>
          </ac:spMkLst>
        </pc:spChg>
        <pc:spChg chg="add mod">
          <ac:chgData name="Ula Staigyte" userId="f6dd036f-ca91-4ba7-a32e-843cc9983a4c" providerId="ADAL" clId="{025139B8-0A69-4A45-9B3D-4ADF647C2763}" dt="2022-01-31T15:42:55.862" v="7905" actId="113"/>
          <ac:spMkLst>
            <pc:docMk/>
            <pc:sldMk cId="2795334785" sldId="426"/>
            <ac:spMk id="26" creationId="{5092E181-53B9-48A0-8125-A35717003A7C}"/>
          </ac:spMkLst>
        </pc:spChg>
        <pc:graphicFrameChg chg="add del mod">
          <ac:chgData name="Ula Staigyte" userId="f6dd036f-ca91-4ba7-a32e-843cc9983a4c" providerId="ADAL" clId="{025139B8-0A69-4A45-9B3D-4ADF647C2763}" dt="2022-01-31T15:31:38.072" v="7758"/>
          <ac:graphicFrameMkLst>
            <pc:docMk/>
            <pc:sldMk cId="2795334785" sldId="426"/>
            <ac:graphicFrameMk id="4" creationId="{C474B749-CD2A-4983-A1EF-55964ACB5CA0}"/>
          </ac:graphicFrameMkLst>
        </pc:graphicFrameChg>
        <pc:graphicFrameChg chg="add del mod">
          <ac:chgData name="Ula Staigyte" userId="f6dd036f-ca91-4ba7-a32e-843cc9983a4c" providerId="ADAL" clId="{025139B8-0A69-4A45-9B3D-4ADF647C2763}" dt="2022-01-31T15:32:16.033" v="7762" actId="478"/>
          <ac:graphicFrameMkLst>
            <pc:docMk/>
            <pc:sldMk cId="2795334785" sldId="426"/>
            <ac:graphicFrameMk id="7" creationId="{08782F79-DE76-4D6B-A6BC-B4723F394093}"/>
          </ac:graphicFrameMkLst>
        </pc:graphicFrameChg>
        <pc:graphicFrameChg chg="add del mod">
          <ac:chgData name="Ula Staigyte" userId="f6dd036f-ca91-4ba7-a32e-843cc9983a4c" providerId="ADAL" clId="{025139B8-0A69-4A45-9B3D-4ADF647C2763}" dt="2022-01-31T15:32:22.023" v="7764" actId="478"/>
          <ac:graphicFrameMkLst>
            <pc:docMk/>
            <pc:sldMk cId="2795334785" sldId="426"/>
            <ac:graphicFrameMk id="11" creationId="{74A1FFA7-D0A9-4D4B-B6EC-834269F440AA}"/>
          </ac:graphicFrameMkLst>
        </pc:graphicFrameChg>
      </pc:sldChg>
      <pc:sldChg chg="addSp delSp modSp new mod addCm delCm">
        <pc:chgData name="Ula Staigyte" userId="f6dd036f-ca91-4ba7-a32e-843cc9983a4c" providerId="ADAL" clId="{025139B8-0A69-4A45-9B3D-4ADF647C2763}" dt="2022-02-08T18:14:34.650" v="18087"/>
        <pc:sldMkLst>
          <pc:docMk/>
          <pc:sldMk cId="679042259" sldId="427"/>
        </pc:sldMkLst>
        <pc:spChg chg="mod">
          <ac:chgData name="Ula Staigyte" userId="f6dd036f-ca91-4ba7-a32e-843cc9983a4c" providerId="ADAL" clId="{025139B8-0A69-4A45-9B3D-4ADF647C2763}" dt="2022-02-01T13:40:10.349" v="10747" actId="20577"/>
          <ac:spMkLst>
            <pc:docMk/>
            <pc:sldMk cId="679042259" sldId="427"/>
            <ac:spMk id="2" creationId="{48621CD8-4BF3-40A5-92AB-A9A9E6FF0A68}"/>
          </ac:spMkLst>
        </pc:spChg>
        <pc:spChg chg="del">
          <ac:chgData name="Ula Staigyte" userId="f6dd036f-ca91-4ba7-a32e-843cc9983a4c" providerId="ADAL" clId="{025139B8-0A69-4A45-9B3D-4ADF647C2763}" dt="2022-02-01T12:56:38.240" v="9968" actId="478"/>
          <ac:spMkLst>
            <pc:docMk/>
            <pc:sldMk cId="679042259" sldId="427"/>
            <ac:spMk id="3" creationId="{A9DD1091-28E5-4606-8CDD-3917909D75CC}"/>
          </ac:spMkLst>
        </pc:spChg>
        <pc:graphicFrameChg chg="add del mod modGraphic">
          <ac:chgData name="Ula Staigyte" userId="f6dd036f-ca91-4ba7-a32e-843cc9983a4c" providerId="ADAL" clId="{025139B8-0A69-4A45-9B3D-4ADF647C2763}" dt="2022-02-03T19:34:10.969" v="17390" actId="403"/>
          <ac:graphicFrameMkLst>
            <pc:docMk/>
            <pc:sldMk cId="679042259" sldId="427"/>
            <ac:graphicFrameMk id="4" creationId="{CBBCBFFE-AEBA-4085-B383-FC30DD690060}"/>
          </ac:graphicFrameMkLst>
        </pc:graphicFrameChg>
        <pc:picChg chg="add del">
          <ac:chgData name="Ula Staigyte" userId="f6dd036f-ca91-4ba7-a32e-843cc9983a4c" providerId="ADAL" clId="{025139B8-0A69-4A45-9B3D-4ADF647C2763}" dt="2022-02-01T13:19:59.860" v="10460" actId="22"/>
          <ac:picMkLst>
            <pc:docMk/>
            <pc:sldMk cId="679042259" sldId="427"/>
            <ac:picMk id="6" creationId="{4CC20621-D8FE-46FA-B04D-384BC7512A09}"/>
          </ac:picMkLst>
        </pc:picChg>
      </pc:sldChg>
      <pc:sldChg chg="delSp modSp add mod">
        <pc:chgData name="Ula Staigyte" userId="f6dd036f-ca91-4ba7-a32e-843cc9983a4c" providerId="ADAL" clId="{025139B8-0A69-4A45-9B3D-4ADF647C2763}" dt="2022-02-01T11:32:56.672" v="8245" actId="20577"/>
        <pc:sldMkLst>
          <pc:docMk/>
          <pc:sldMk cId="2728250098" sldId="428"/>
        </pc:sldMkLst>
        <pc:spChg chg="mod">
          <ac:chgData name="Ula Staigyte" userId="f6dd036f-ca91-4ba7-a32e-843cc9983a4c" providerId="ADAL" clId="{025139B8-0A69-4A45-9B3D-4ADF647C2763}" dt="2022-02-01T11:32:56.672" v="8245" actId="20577"/>
          <ac:spMkLst>
            <pc:docMk/>
            <pc:sldMk cId="2728250098" sldId="428"/>
            <ac:spMk id="2" creationId="{9EC8B8AE-FCA9-4BE4-B28D-28946FEFE017}"/>
          </ac:spMkLst>
        </pc:spChg>
        <pc:spChg chg="mod">
          <ac:chgData name="Ula Staigyte" userId="f6dd036f-ca91-4ba7-a32e-843cc9983a4c" providerId="ADAL" clId="{025139B8-0A69-4A45-9B3D-4ADF647C2763}" dt="2022-01-31T15:43:34.890" v="7907" actId="14100"/>
          <ac:spMkLst>
            <pc:docMk/>
            <pc:sldMk cId="2728250098" sldId="428"/>
            <ac:spMk id="16" creationId="{23F782A6-1AD5-49E6-9216-206747644DD2}"/>
          </ac:spMkLst>
        </pc:spChg>
        <pc:spChg chg="mod">
          <ac:chgData name="Ula Staigyte" userId="f6dd036f-ca91-4ba7-a32e-843cc9983a4c" providerId="ADAL" clId="{025139B8-0A69-4A45-9B3D-4ADF647C2763}" dt="2022-01-31T15:44:02.982" v="7936" actId="20577"/>
          <ac:spMkLst>
            <pc:docMk/>
            <pc:sldMk cId="2728250098" sldId="428"/>
            <ac:spMk id="17" creationId="{83ACA927-2D27-4923-AF14-0BEA7DA8105C}"/>
          </ac:spMkLst>
        </pc:spChg>
        <pc:spChg chg="mod">
          <ac:chgData name="Ula Staigyte" userId="f6dd036f-ca91-4ba7-a32e-843cc9983a4c" providerId="ADAL" clId="{025139B8-0A69-4A45-9B3D-4ADF647C2763}" dt="2022-01-31T15:45:24.739" v="7968" actId="14100"/>
          <ac:spMkLst>
            <pc:docMk/>
            <pc:sldMk cId="2728250098" sldId="428"/>
            <ac:spMk id="18" creationId="{96C18DBD-EE50-4A29-A29F-54EA6F0780AA}"/>
          </ac:spMkLst>
        </pc:spChg>
        <pc:spChg chg="mod">
          <ac:chgData name="Ula Staigyte" userId="f6dd036f-ca91-4ba7-a32e-843cc9983a4c" providerId="ADAL" clId="{025139B8-0A69-4A45-9B3D-4ADF647C2763}" dt="2022-01-31T15:45:27.973" v="7969" actId="14100"/>
          <ac:spMkLst>
            <pc:docMk/>
            <pc:sldMk cId="2728250098" sldId="428"/>
            <ac:spMk id="19" creationId="{92EA9A80-E021-447A-A122-F75E5B81E79E}"/>
          </ac:spMkLst>
        </pc:spChg>
        <pc:spChg chg="mod">
          <ac:chgData name="Ula Staigyte" userId="f6dd036f-ca91-4ba7-a32e-843cc9983a4c" providerId="ADAL" clId="{025139B8-0A69-4A45-9B3D-4ADF647C2763}" dt="2022-02-01T11:17:52.178" v="8094" actId="1076"/>
          <ac:spMkLst>
            <pc:docMk/>
            <pc:sldMk cId="2728250098" sldId="428"/>
            <ac:spMk id="20" creationId="{EA50B100-4933-4126-A64D-3BC2533DEC14}"/>
          </ac:spMkLst>
        </pc:spChg>
        <pc:spChg chg="mod">
          <ac:chgData name="Ula Staigyte" userId="f6dd036f-ca91-4ba7-a32e-843cc9983a4c" providerId="ADAL" clId="{025139B8-0A69-4A45-9B3D-4ADF647C2763}" dt="2022-02-01T11:17:19.233" v="8088" actId="14100"/>
          <ac:spMkLst>
            <pc:docMk/>
            <pc:sldMk cId="2728250098" sldId="428"/>
            <ac:spMk id="21" creationId="{43915FCC-565A-4EBE-8A2B-ECCD92B9FF09}"/>
          </ac:spMkLst>
        </pc:spChg>
        <pc:spChg chg="mod">
          <ac:chgData name="Ula Staigyte" userId="f6dd036f-ca91-4ba7-a32e-843cc9983a4c" providerId="ADAL" clId="{025139B8-0A69-4A45-9B3D-4ADF647C2763}" dt="2022-02-01T11:19:21.126" v="8102" actId="14100"/>
          <ac:spMkLst>
            <pc:docMk/>
            <pc:sldMk cId="2728250098" sldId="428"/>
            <ac:spMk id="22" creationId="{8C7BD469-E23C-4C13-8793-DA39A859ED91}"/>
          </ac:spMkLst>
        </pc:spChg>
        <pc:spChg chg="mod">
          <ac:chgData name="Ula Staigyte" userId="f6dd036f-ca91-4ba7-a32e-843cc9983a4c" providerId="ADAL" clId="{025139B8-0A69-4A45-9B3D-4ADF647C2763}" dt="2022-02-01T11:17:27.266" v="8089" actId="113"/>
          <ac:spMkLst>
            <pc:docMk/>
            <pc:sldMk cId="2728250098" sldId="428"/>
            <ac:spMk id="23" creationId="{721F6D88-74EC-4AF7-A420-F5B170AD9DC7}"/>
          </ac:spMkLst>
        </pc:spChg>
        <pc:spChg chg="mod">
          <ac:chgData name="Ula Staigyte" userId="f6dd036f-ca91-4ba7-a32e-843cc9983a4c" providerId="ADAL" clId="{025139B8-0A69-4A45-9B3D-4ADF647C2763}" dt="2022-02-01T11:19:27.143" v="8103" actId="113"/>
          <ac:spMkLst>
            <pc:docMk/>
            <pc:sldMk cId="2728250098" sldId="428"/>
            <ac:spMk id="24" creationId="{79CC2B17-6A40-438E-ACB4-7589A47947A0}"/>
          </ac:spMkLst>
        </pc:spChg>
        <pc:spChg chg="del mod">
          <ac:chgData name="Ula Staigyte" userId="f6dd036f-ca91-4ba7-a32e-843cc9983a4c" providerId="ADAL" clId="{025139B8-0A69-4A45-9B3D-4ADF647C2763}" dt="2022-02-01T11:19:13.167" v="8099" actId="478"/>
          <ac:spMkLst>
            <pc:docMk/>
            <pc:sldMk cId="2728250098" sldId="428"/>
            <ac:spMk id="25" creationId="{713BAD37-3794-4919-B9BE-8E33C9E0A5B2}"/>
          </ac:spMkLst>
        </pc:spChg>
        <pc:spChg chg="del mod">
          <ac:chgData name="Ula Staigyte" userId="f6dd036f-ca91-4ba7-a32e-843cc9983a4c" providerId="ADAL" clId="{025139B8-0A69-4A45-9B3D-4ADF647C2763}" dt="2022-02-01T11:19:14.177" v="8100" actId="478"/>
          <ac:spMkLst>
            <pc:docMk/>
            <pc:sldMk cId="2728250098" sldId="428"/>
            <ac:spMk id="26" creationId="{5092E181-53B9-48A0-8125-A35717003A7C}"/>
          </ac:spMkLst>
        </pc:spChg>
      </pc:sldChg>
      <pc:sldChg chg="addSp delSp modSp add mod addCm delCm modCm">
        <pc:chgData name="Ula Staigyte" userId="f6dd036f-ca91-4ba7-a32e-843cc9983a4c" providerId="ADAL" clId="{025139B8-0A69-4A45-9B3D-4ADF647C2763}" dt="2022-02-08T19:41:27.156" v="18325"/>
        <pc:sldMkLst>
          <pc:docMk/>
          <pc:sldMk cId="3110350947" sldId="429"/>
        </pc:sldMkLst>
        <pc:spChg chg="mod">
          <ac:chgData name="Ula Staigyte" userId="f6dd036f-ca91-4ba7-a32e-843cc9983a4c" providerId="ADAL" clId="{025139B8-0A69-4A45-9B3D-4ADF647C2763}" dt="2022-01-31T15:47:09.893" v="7985" actId="20577"/>
          <ac:spMkLst>
            <pc:docMk/>
            <pc:sldMk cId="3110350947" sldId="429"/>
            <ac:spMk id="2" creationId="{AE4BA17E-52E0-4305-A72C-A822494094B1}"/>
          </ac:spMkLst>
        </pc:spChg>
        <pc:spChg chg="add mod">
          <ac:chgData name="Ula Staigyte" userId="f6dd036f-ca91-4ba7-a32e-843cc9983a4c" providerId="ADAL" clId="{025139B8-0A69-4A45-9B3D-4ADF647C2763}" dt="2022-02-03T19:21:59.733" v="17297" actId="13926"/>
          <ac:spMkLst>
            <pc:docMk/>
            <pc:sldMk cId="3110350947" sldId="429"/>
            <ac:spMk id="4" creationId="{82DCD18A-D4CD-48CE-8C74-7E6DB8F9392B}"/>
          </ac:spMkLst>
        </pc:spChg>
        <pc:spChg chg="del mod">
          <ac:chgData name="Ula Staigyte" userId="f6dd036f-ca91-4ba7-a32e-843cc9983a4c" providerId="ADAL" clId="{025139B8-0A69-4A45-9B3D-4ADF647C2763}" dt="2022-02-02T09:34:08.133" v="14816" actId="478"/>
          <ac:spMkLst>
            <pc:docMk/>
            <pc:sldMk cId="3110350947" sldId="429"/>
            <ac:spMk id="7" creationId="{139D78CF-5B4D-476A-8D8A-4EE4C4793D7A}"/>
          </ac:spMkLst>
        </pc:spChg>
        <pc:spChg chg="mod">
          <ac:chgData name="Ula Staigyte" userId="f6dd036f-ca91-4ba7-a32e-843cc9983a4c" providerId="ADAL" clId="{025139B8-0A69-4A45-9B3D-4ADF647C2763}" dt="2022-02-08T19:40:07.263" v="18314" actId="14100"/>
          <ac:spMkLst>
            <pc:docMk/>
            <pc:sldMk cId="3110350947" sldId="429"/>
            <ac:spMk id="8" creationId="{BE4AC605-A72E-4955-9D01-E9C6C5D5DA3E}"/>
          </ac:spMkLst>
        </pc:spChg>
        <pc:spChg chg="mod topLvl">
          <ac:chgData name="Ula Staigyte" userId="f6dd036f-ca91-4ba7-a32e-843cc9983a4c" providerId="ADAL" clId="{025139B8-0A69-4A45-9B3D-4ADF647C2763}" dt="2022-02-02T09:40:07.509" v="14902" actId="14100"/>
          <ac:spMkLst>
            <pc:docMk/>
            <pc:sldMk cId="3110350947" sldId="429"/>
            <ac:spMk id="13" creationId="{5A591081-5BD0-495C-92F9-4F46B441223B}"/>
          </ac:spMkLst>
        </pc:spChg>
        <pc:spChg chg="del mod topLvl">
          <ac:chgData name="Ula Staigyte" userId="f6dd036f-ca91-4ba7-a32e-843cc9983a4c" providerId="ADAL" clId="{025139B8-0A69-4A45-9B3D-4ADF647C2763}" dt="2022-02-02T09:36:02.824" v="14830" actId="478"/>
          <ac:spMkLst>
            <pc:docMk/>
            <pc:sldMk cId="3110350947" sldId="429"/>
            <ac:spMk id="14" creationId="{11735E13-8BA2-4B27-8057-5B61E1C84C97}"/>
          </ac:spMkLst>
        </pc:spChg>
        <pc:spChg chg="mod">
          <ac:chgData name="Ula Staigyte" userId="f6dd036f-ca91-4ba7-a32e-843cc9983a4c" providerId="ADAL" clId="{025139B8-0A69-4A45-9B3D-4ADF647C2763}" dt="2022-02-02T09:44:43.923" v="14964" actId="14100"/>
          <ac:spMkLst>
            <pc:docMk/>
            <pc:sldMk cId="3110350947" sldId="429"/>
            <ac:spMk id="26" creationId="{7BB529D8-2156-4080-9F01-05216B8580D9}"/>
          </ac:spMkLst>
        </pc:spChg>
        <pc:spChg chg="add mod">
          <ac:chgData name="Ula Staigyte" userId="f6dd036f-ca91-4ba7-a32e-843cc9983a4c" providerId="ADAL" clId="{025139B8-0A69-4A45-9B3D-4ADF647C2763}" dt="2022-02-08T19:40:54.804" v="18324" actId="1076"/>
          <ac:spMkLst>
            <pc:docMk/>
            <pc:sldMk cId="3110350947" sldId="429"/>
            <ac:spMk id="28" creationId="{4ED9AB99-2500-43C7-A20C-67150B73F7CA}"/>
          </ac:spMkLst>
        </pc:spChg>
        <pc:spChg chg="mod">
          <ac:chgData name="Ula Staigyte" userId="f6dd036f-ca91-4ba7-a32e-843cc9983a4c" providerId="ADAL" clId="{025139B8-0A69-4A45-9B3D-4ADF647C2763}" dt="2022-02-08T19:28:35.585" v="18211" actId="20577"/>
          <ac:spMkLst>
            <pc:docMk/>
            <pc:sldMk cId="3110350947" sldId="429"/>
            <ac:spMk id="29" creationId="{C343047F-E831-4BB7-9DF9-FCC6CEAAFD16}"/>
          </ac:spMkLst>
        </pc:spChg>
        <pc:spChg chg="mod">
          <ac:chgData name="Ula Staigyte" userId="f6dd036f-ca91-4ba7-a32e-843cc9983a4c" providerId="ADAL" clId="{025139B8-0A69-4A45-9B3D-4ADF647C2763}" dt="2022-02-03T19:22:13.349" v="17302" actId="123"/>
          <ac:spMkLst>
            <pc:docMk/>
            <pc:sldMk cId="3110350947" sldId="429"/>
            <ac:spMk id="30" creationId="{D689F7A1-BE0D-4721-B8B3-BF877E743E7C}"/>
          </ac:spMkLst>
        </pc:spChg>
        <pc:spChg chg="mod">
          <ac:chgData name="Ula Staigyte" userId="f6dd036f-ca91-4ba7-a32e-843cc9983a4c" providerId="ADAL" clId="{025139B8-0A69-4A45-9B3D-4ADF647C2763}" dt="2022-02-03T19:22:11.029" v="17301" actId="123"/>
          <ac:spMkLst>
            <pc:docMk/>
            <pc:sldMk cId="3110350947" sldId="429"/>
            <ac:spMk id="31" creationId="{AB2257E2-C4C1-4E39-AB41-6A04F83D42A2}"/>
          </ac:spMkLst>
        </pc:spChg>
        <pc:spChg chg="mod">
          <ac:chgData name="Ula Staigyte" userId="f6dd036f-ca91-4ba7-a32e-843cc9983a4c" providerId="ADAL" clId="{025139B8-0A69-4A45-9B3D-4ADF647C2763}" dt="2022-02-08T19:40:36.409" v="18319" actId="1076"/>
          <ac:spMkLst>
            <pc:docMk/>
            <pc:sldMk cId="3110350947" sldId="429"/>
            <ac:spMk id="32" creationId="{786A3627-D2CF-4920-8CF1-4DD578091430}"/>
          </ac:spMkLst>
        </pc:spChg>
        <pc:spChg chg="mod">
          <ac:chgData name="Ula Staigyte" userId="f6dd036f-ca91-4ba7-a32e-843cc9983a4c" providerId="ADAL" clId="{025139B8-0A69-4A45-9B3D-4ADF647C2763}" dt="2022-02-08T19:40:42.634" v="18321" actId="1076"/>
          <ac:spMkLst>
            <pc:docMk/>
            <pc:sldMk cId="3110350947" sldId="429"/>
            <ac:spMk id="33" creationId="{19613554-A2FD-4A3A-857C-BF2A60B5A915}"/>
          </ac:spMkLst>
        </pc:spChg>
        <pc:spChg chg="mod">
          <ac:chgData name="Ula Staigyte" userId="f6dd036f-ca91-4ba7-a32e-843cc9983a4c" providerId="ADAL" clId="{025139B8-0A69-4A45-9B3D-4ADF647C2763}" dt="2022-02-08T19:40:40.262" v="18320" actId="1076"/>
          <ac:spMkLst>
            <pc:docMk/>
            <pc:sldMk cId="3110350947" sldId="429"/>
            <ac:spMk id="34" creationId="{C29A647E-28B2-4177-8460-D03DC7E2B8C6}"/>
          </ac:spMkLst>
        </pc:spChg>
        <pc:spChg chg="mod">
          <ac:chgData name="Ula Staigyte" userId="f6dd036f-ca91-4ba7-a32e-843cc9983a4c" providerId="ADAL" clId="{025139B8-0A69-4A45-9B3D-4ADF647C2763}" dt="2022-02-08T19:40:45.878" v="18322" actId="1076"/>
          <ac:spMkLst>
            <pc:docMk/>
            <pc:sldMk cId="3110350947" sldId="429"/>
            <ac:spMk id="35" creationId="{FE2824BF-DE8A-4CD4-8E3B-8BD04157FB33}"/>
          </ac:spMkLst>
        </pc:spChg>
        <pc:spChg chg="del mod">
          <ac:chgData name="Ula Staigyte" userId="f6dd036f-ca91-4ba7-a32e-843cc9983a4c" providerId="ADAL" clId="{025139B8-0A69-4A45-9B3D-4ADF647C2763}" dt="2022-02-02T09:34:09.622" v="14817" actId="478"/>
          <ac:spMkLst>
            <pc:docMk/>
            <pc:sldMk cId="3110350947" sldId="429"/>
            <ac:spMk id="36" creationId="{C8D4EDE0-24DF-4A08-A1F8-80092A5299DC}"/>
          </ac:spMkLst>
        </pc:spChg>
        <pc:spChg chg="del mod">
          <ac:chgData name="Ula Staigyte" userId="f6dd036f-ca91-4ba7-a32e-843cc9983a4c" providerId="ADAL" clId="{025139B8-0A69-4A45-9B3D-4ADF647C2763}" dt="2022-02-02T09:34:12.789" v="14821" actId="478"/>
          <ac:spMkLst>
            <pc:docMk/>
            <pc:sldMk cId="3110350947" sldId="429"/>
            <ac:spMk id="37" creationId="{91B8FE04-D52F-4D25-91CB-9D32BDE45BAB}"/>
          </ac:spMkLst>
        </pc:spChg>
        <pc:spChg chg="del">
          <ac:chgData name="Ula Staigyte" userId="f6dd036f-ca91-4ba7-a32e-843cc9983a4c" providerId="ADAL" clId="{025139B8-0A69-4A45-9B3D-4ADF647C2763}" dt="2022-02-02T09:34:14.012" v="14822" actId="478"/>
          <ac:spMkLst>
            <pc:docMk/>
            <pc:sldMk cId="3110350947" sldId="429"/>
            <ac:spMk id="39" creationId="{FE0E0466-092B-4EB2-9159-3530496230B9}"/>
          </ac:spMkLst>
        </pc:spChg>
        <pc:spChg chg="mod">
          <ac:chgData name="Ula Staigyte" userId="f6dd036f-ca91-4ba7-a32e-843cc9983a4c" providerId="ADAL" clId="{025139B8-0A69-4A45-9B3D-4ADF647C2763}" dt="2022-02-02T09:45:25.467" v="14981" actId="14100"/>
          <ac:spMkLst>
            <pc:docMk/>
            <pc:sldMk cId="3110350947" sldId="429"/>
            <ac:spMk id="40" creationId="{2F081759-DEEF-402F-AFDB-47ADC216DFC6}"/>
          </ac:spMkLst>
        </pc:spChg>
        <pc:spChg chg="mod">
          <ac:chgData name="Ula Staigyte" userId="f6dd036f-ca91-4ba7-a32e-843cc9983a4c" providerId="ADAL" clId="{025139B8-0A69-4A45-9B3D-4ADF647C2763}" dt="2022-02-03T19:22:16.237" v="17303" actId="123"/>
          <ac:spMkLst>
            <pc:docMk/>
            <pc:sldMk cId="3110350947" sldId="429"/>
            <ac:spMk id="41" creationId="{C55B508C-FA3D-48BE-9D4F-9310894B3EBF}"/>
          </ac:spMkLst>
        </pc:spChg>
        <pc:spChg chg="add del">
          <ac:chgData name="Ula Staigyte" userId="f6dd036f-ca91-4ba7-a32e-843cc9983a4c" providerId="ADAL" clId="{025139B8-0A69-4A45-9B3D-4ADF647C2763}" dt="2022-02-02T09:21:28.805" v="14445" actId="22"/>
          <ac:spMkLst>
            <pc:docMk/>
            <pc:sldMk cId="3110350947" sldId="429"/>
            <ac:spMk id="42" creationId="{5C4E05FB-ACA5-4CC8-A04A-402C38AFCEFD}"/>
          </ac:spMkLst>
        </pc:spChg>
        <pc:spChg chg="add del mod">
          <ac:chgData name="Ula Staigyte" userId="f6dd036f-ca91-4ba7-a32e-843cc9983a4c" providerId="ADAL" clId="{025139B8-0A69-4A45-9B3D-4ADF647C2763}" dt="2022-02-02T09:26:22.845" v="14803" actId="478"/>
          <ac:spMkLst>
            <pc:docMk/>
            <pc:sldMk cId="3110350947" sldId="429"/>
            <ac:spMk id="43" creationId="{D8C085A4-1231-4980-AB7B-82028F48ECCC}"/>
          </ac:spMkLst>
        </pc:spChg>
        <pc:spChg chg="add mod">
          <ac:chgData name="Ula Staigyte" userId="f6dd036f-ca91-4ba7-a32e-843cc9983a4c" providerId="ADAL" clId="{025139B8-0A69-4A45-9B3D-4ADF647C2763}" dt="2022-02-02T09:38:09.495" v="14901" actId="1076"/>
          <ac:spMkLst>
            <pc:docMk/>
            <pc:sldMk cId="3110350947" sldId="429"/>
            <ac:spMk id="44" creationId="{2F52E144-C8AD-4209-90E1-2D8831292BE0}"/>
          </ac:spMkLst>
        </pc:spChg>
        <pc:spChg chg="add mod">
          <ac:chgData name="Ula Staigyte" userId="f6dd036f-ca91-4ba7-a32e-843cc9983a4c" providerId="ADAL" clId="{025139B8-0A69-4A45-9B3D-4ADF647C2763}" dt="2022-02-02T09:43:32.210" v="14951" actId="1076"/>
          <ac:spMkLst>
            <pc:docMk/>
            <pc:sldMk cId="3110350947" sldId="429"/>
            <ac:spMk id="46" creationId="{1013B982-6D43-4009-89FA-BAC2062F22CB}"/>
          </ac:spMkLst>
        </pc:spChg>
        <pc:spChg chg="mod">
          <ac:chgData name="Ula Staigyte" userId="f6dd036f-ca91-4ba7-a32e-843cc9983a4c" providerId="ADAL" clId="{025139B8-0A69-4A45-9B3D-4ADF647C2763}" dt="2022-02-02T09:45:08.624" v="14977" actId="14100"/>
          <ac:spMkLst>
            <pc:docMk/>
            <pc:sldMk cId="3110350947" sldId="429"/>
            <ac:spMk id="48" creationId="{9AB389A1-BF85-41DF-9224-7AF19DA74D61}"/>
          </ac:spMkLst>
        </pc:spChg>
        <pc:spChg chg="add mod">
          <ac:chgData name="Ula Staigyte" userId="f6dd036f-ca91-4ba7-a32e-843cc9983a4c" providerId="ADAL" clId="{025139B8-0A69-4A45-9B3D-4ADF647C2763}" dt="2022-02-08T18:12:18.060" v="18083" actId="1076"/>
          <ac:spMkLst>
            <pc:docMk/>
            <pc:sldMk cId="3110350947" sldId="429"/>
            <ac:spMk id="49" creationId="{FF89C3CB-660F-411C-AB68-1369C65C2D3B}"/>
          </ac:spMkLst>
        </pc:spChg>
        <pc:spChg chg="add mod ord">
          <ac:chgData name="Ula Staigyte" userId="f6dd036f-ca91-4ba7-a32e-843cc9983a4c" providerId="ADAL" clId="{025139B8-0A69-4A45-9B3D-4ADF647C2763}" dt="2022-02-02T09:46:41.736" v="15030" actId="14100"/>
          <ac:spMkLst>
            <pc:docMk/>
            <pc:sldMk cId="3110350947" sldId="429"/>
            <ac:spMk id="50" creationId="{563C56AA-56F7-4BAE-865D-7BDA8D792C00}"/>
          </ac:spMkLst>
        </pc:spChg>
        <pc:spChg chg="del">
          <ac:chgData name="Ula Staigyte" userId="f6dd036f-ca91-4ba7-a32e-843cc9983a4c" providerId="ADAL" clId="{025139B8-0A69-4A45-9B3D-4ADF647C2763}" dt="2022-02-01T15:42:30.116" v="12480" actId="478"/>
          <ac:spMkLst>
            <pc:docMk/>
            <pc:sldMk cId="3110350947" sldId="429"/>
            <ac:spMk id="51" creationId="{74F622AD-7A0F-4BBC-975B-239608279D14}"/>
          </ac:spMkLst>
        </pc:spChg>
        <pc:grpChg chg="mod">
          <ac:chgData name="Ula Staigyte" userId="f6dd036f-ca91-4ba7-a32e-843cc9983a4c" providerId="ADAL" clId="{025139B8-0A69-4A45-9B3D-4ADF647C2763}" dt="2022-02-08T19:40:26.213" v="18318" actId="1076"/>
          <ac:grpSpMkLst>
            <pc:docMk/>
            <pc:sldMk cId="3110350947" sldId="429"/>
            <ac:grpSpMk id="3" creationId="{DBFFA163-CF3F-48D4-9BE9-9BBA3580A589}"/>
          </ac:grpSpMkLst>
        </pc:grpChg>
        <pc:grpChg chg="del mod">
          <ac:chgData name="Ula Staigyte" userId="f6dd036f-ca91-4ba7-a32e-843cc9983a4c" providerId="ADAL" clId="{025139B8-0A69-4A45-9B3D-4ADF647C2763}" dt="2022-02-02T09:36:02.824" v="14830" actId="478"/>
          <ac:grpSpMkLst>
            <pc:docMk/>
            <pc:sldMk cId="3110350947" sldId="429"/>
            <ac:grpSpMk id="18" creationId="{22508EBC-BCC6-4F9F-A332-AFED810ADEFC}"/>
          </ac:grpSpMkLst>
        </pc:grpChg>
        <pc:grpChg chg="mod">
          <ac:chgData name="Ula Staigyte" userId="f6dd036f-ca91-4ba7-a32e-843cc9983a4c" providerId="ADAL" clId="{025139B8-0A69-4A45-9B3D-4ADF647C2763}" dt="2022-02-08T19:40:50.385" v="18323" actId="1076"/>
          <ac:grpSpMkLst>
            <pc:docMk/>
            <pc:sldMk cId="3110350947" sldId="429"/>
            <ac:grpSpMk id="23" creationId="{9E9B671E-8FB1-41E0-88FF-13CBD3BFCA46}"/>
          </ac:grpSpMkLst>
        </pc:grpChg>
        <pc:picChg chg="del">
          <ac:chgData name="Ula Staigyte" userId="f6dd036f-ca91-4ba7-a32e-843cc9983a4c" providerId="ADAL" clId="{025139B8-0A69-4A45-9B3D-4ADF647C2763}" dt="2022-01-31T15:47:19.541" v="7986" actId="478"/>
          <ac:picMkLst>
            <pc:docMk/>
            <pc:sldMk cId="3110350947" sldId="429"/>
            <ac:picMk id="4" creationId="{279D2EE1-A565-4E1F-92E4-F39CEBFE7A19}"/>
          </ac:picMkLst>
        </pc:picChg>
        <pc:picChg chg="add mod">
          <ac:chgData name="Ula Staigyte" userId="f6dd036f-ca91-4ba7-a32e-843cc9983a4c" providerId="ADAL" clId="{025139B8-0A69-4A45-9B3D-4ADF647C2763}" dt="2022-01-31T15:47:27.072" v="7989" actId="1076"/>
          <ac:picMkLst>
            <pc:docMk/>
            <pc:sldMk cId="3110350947" sldId="429"/>
            <ac:picMk id="38" creationId="{7806989B-0B2B-4500-B8C5-CD2E15A4C7D4}"/>
          </ac:picMkLst>
        </pc:picChg>
        <pc:cxnChg chg="del mod">
          <ac:chgData name="Ula Staigyte" userId="f6dd036f-ca91-4ba7-a32e-843cc9983a4c" providerId="ADAL" clId="{025139B8-0A69-4A45-9B3D-4ADF647C2763}" dt="2022-02-02T09:34:10.570" v="14818" actId="478"/>
          <ac:cxnSpMkLst>
            <pc:docMk/>
            <pc:sldMk cId="3110350947" sldId="429"/>
            <ac:cxnSpMk id="19" creationId="{CAC37970-8098-4B08-8D1B-D491100AB045}"/>
          </ac:cxnSpMkLst>
        </pc:cxnChg>
        <pc:cxnChg chg="del mod">
          <ac:chgData name="Ula Staigyte" userId="f6dd036f-ca91-4ba7-a32e-843cc9983a4c" providerId="ADAL" clId="{025139B8-0A69-4A45-9B3D-4ADF647C2763}" dt="2022-02-02T09:34:11.424" v="14819" actId="478"/>
          <ac:cxnSpMkLst>
            <pc:docMk/>
            <pc:sldMk cId="3110350947" sldId="429"/>
            <ac:cxnSpMk id="45" creationId="{A7974988-04E3-48C4-98B9-0C4265603E23}"/>
          </ac:cxnSpMkLst>
        </pc:cxnChg>
        <pc:cxnChg chg="del mod">
          <ac:chgData name="Ula Staigyte" userId="f6dd036f-ca91-4ba7-a32e-843cc9983a4c" providerId="ADAL" clId="{025139B8-0A69-4A45-9B3D-4ADF647C2763}" dt="2022-02-02T09:34:12.125" v="14820" actId="478"/>
          <ac:cxnSpMkLst>
            <pc:docMk/>
            <pc:sldMk cId="3110350947" sldId="429"/>
            <ac:cxnSpMk id="47" creationId="{ABF2F3AA-5941-4AEF-A116-C3B7E28757C0}"/>
          </ac:cxnSpMkLst>
        </pc:cxnChg>
      </pc:sldChg>
      <pc:sldChg chg="addSp delSp modSp add mod addCm delCm">
        <pc:chgData name="Ula Staigyte" userId="f6dd036f-ca91-4ba7-a32e-843cc9983a4c" providerId="ADAL" clId="{025139B8-0A69-4A45-9B3D-4ADF647C2763}" dt="2022-02-08T18:13:01.842" v="18084"/>
        <pc:sldMkLst>
          <pc:docMk/>
          <pc:sldMk cId="1714433387" sldId="430"/>
        </pc:sldMkLst>
        <pc:spChg chg="mod">
          <ac:chgData name="Ula Staigyte" userId="f6dd036f-ca91-4ba7-a32e-843cc9983a4c" providerId="ADAL" clId="{025139B8-0A69-4A45-9B3D-4ADF647C2763}" dt="2022-01-31T15:48:31.462" v="8000" actId="20577"/>
          <ac:spMkLst>
            <pc:docMk/>
            <pc:sldMk cId="1714433387" sldId="430"/>
            <ac:spMk id="2" creationId="{BFB04A5A-CE56-40E2-A761-4E5B7491DFD2}"/>
          </ac:spMkLst>
        </pc:spChg>
        <pc:spChg chg="add mod">
          <ac:chgData name="Ula Staigyte" userId="f6dd036f-ca91-4ba7-a32e-843cc9983a4c" providerId="ADAL" clId="{025139B8-0A69-4A45-9B3D-4ADF647C2763}" dt="2022-02-03T19:24:21.528" v="17313" actId="14100"/>
          <ac:spMkLst>
            <pc:docMk/>
            <pc:sldMk cId="1714433387" sldId="430"/>
            <ac:spMk id="3" creationId="{11FDB716-8337-45E4-AB75-9F6D4925B2C1}"/>
          </ac:spMkLst>
        </pc:spChg>
        <pc:spChg chg="mod">
          <ac:chgData name="Ula Staigyte" userId="f6dd036f-ca91-4ba7-a32e-843cc9983a4c" providerId="ADAL" clId="{025139B8-0A69-4A45-9B3D-4ADF647C2763}" dt="2022-02-03T19:23:23.358" v="17309" actId="20577"/>
          <ac:spMkLst>
            <pc:docMk/>
            <pc:sldMk cId="1714433387" sldId="430"/>
            <ac:spMk id="12" creationId="{63D78838-885A-4346-B010-F08D598B4AFF}"/>
          </ac:spMkLst>
        </pc:spChg>
        <pc:spChg chg="mod">
          <ac:chgData name="Ula Staigyte" userId="f6dd036f-ca91-4ba7-a32e-843cc9983a4c" providerId="ADAL" clId="{025139B8-0A69-4A45-9B3D-4ADF647C2763}" dt="2022-02-03T19:23:38.666" v="17312" actId="123"/>
          <ac:spMkLst>
            <pc:docMk/>
            <pc:sldMk cId="1714433387" sldId="430"/>
            <ac:spMk id="14" creationId="{3AD0183F-7B61-4213-A7D5-A5E1B9531971}"/>
          </ac:spMkLst>
        </pc:spChg>
        <pc:spChg chg="mod">
          <ac:chgData name="Ula Staigyte" userId="f6dd036f-ca91-4ba7-a32e-843cc9983a4c" providerId="ADAL" clId="{025139B8-0A69-4A45-9B3D-4ADF647C2763}" dt="2022-02-02T11:52:03.968" v="16266" actId="14100"/>
          <ac:spMkLst>
            <pc:docMk/>
            <pc:sldMk cId="1714433387" sldId="430"/>
            <ac:spMk id="16" creationId="{BE60E6FA-EC07-4326-AB9D-DB3AA8A4E7B8}"/>
          </ac:spMkLst>
        </pc:spChg>
        <pc:spChg chg="mod">
          <ac:chgData name="Ula Staigyte" userId="f6dd036f-ca91-4ba7-a32e-843cc9983a4c" providerId="ADAL" clId="{025139B8-0A69-4A45-9B3D-4ADF647C2763}" dt="2022-02-02T11:50:27.262" v="16247" actId="14100"/>
          <ac:spMkLst>
            <pc:docMk/>
            <pc:sldMk cId="1714433387" sldId="430"/>
            <ac:spMk id="18" creationId="{8F508EF2-9BE8-458E-9330-99BC8D833BE5}"/>
          </ac:spMkLst>
        </pc:spChg>
        <pc:spChg chg="mod">
          <ac:chgData name="Ula Staigyte" userId="f6dd036f-ca91-4ba7-a32e-843cc9983a4c" providerId="ADAL" clId="{025139B8-0A69-4A45-9B3D-4ADF647C2763}" dt="2022-02-02T11:51:26.962" v="16259" actId="14100"/>
          <ac:spMkLst>
            <pc:docMk/>
            <pc:sldMk cId="1714433387" sldId="430"/>
            <ac:spMk id="20" creationId="{9A4CA3F3-74D7-4FA0-9EDE-26A5889688B3}"/>
          </ac:spMkLst>
        </pc:spChg>
        <pc:spChg chg="mod">
          <ac:chgData name="Ula Staigyte" userId="f6dd036f-ca91-4ba7-a32e-843cc9983a4c" providerId="ADAL" clId="{025139B8-0A69-4A45-9B3D-4ADF647C2763}" dt="2022-02-02T11:51:56.821" v="16265" actId="14100"/>
          <ac:spMkLst>
            <pc:docMk/>
            <pc:sldMk cId="1714433387" sldId="430"/>
            <ac:spMk id="22" creationId="{A7115C67-DECF-4BF7-8BCB-741E6031F338}"/>
          </ac:spMkLst>
        </pc:spChg>
        <pc:spChg chg="mod">
          <ac:chgData name="Ula Staigyte" userId="f6dd036f-ca91-4ba7-a32e-843cc9983a4c" providerId="ADAL" clId="{025139B8-0A69-4A45-9B3D-4ADF647C2763}" dt="2022-02-03T19:23:31.677" v="17311" actId="123"/>
          <ac:spMkLst>
            <pc:docMk/>
            <pc:sldMk cId="1714433387" sldId="430"/>
            <ac:spMk id="25" creationId="{4955CFF6-8826-442F-986C-4FC0B028A2AC}"/>
          </ac:spMkLst>
        </pc:spChg>
        <pc:spChg chg="mod">
          <ac:chgData name="Ula Staigyte" userId="f6dd036f-ca91-4ba7-a32e-843cc9983a4c" providerId="ADAL" clId="{025139B8-0A69-4A45-9B3D-4ADF647C2763}" dt="2022-02-03T19:23:28.933" v="17310" actId="123"/>
          <ac:spMkLst>
            <pc:docMk/>
            <pc:sldMk cId="1714433387" sldId="430"/>
            <ac:spMk id="26" creationId="{86157154-ECBC-4576-A583-C26C510ED531}"/>
          </ac:spMkLst>
        </pc:spChg>
        <pc:spChg chg="del mod">
          <ac:chgData name="Ula Staigyte" userId="f6dd036f-ca91-4ba7-a32e-843cc9983a4c" providerId="ADAL" clId="{025139B8-0A69-4A45-9B3D-4ADF647C2763}" dt="2022-02-02T11:21:12.709" v="15318" actId="478"/>
          <ac:spMkLst>
            <pc:docMk/>
            <pc:sldMk cId="1714433387" sldId="430"/>
            <ac:spMk id="27" creationId="{2FDDBED7-0881-405D-90E6-FE3D738DC2F0}"/>
          </ac:spMkLst>
        </pc:spChg>
        <pc:spChg chg="del">
          <ac:chgData name="Ula Staigyte" userId="f6dd036f-ca91-4ba7-a32e-843cc9983a4c" providerId="ADAL" clId="{025139B8-0A69-4A45-9B3D-4ADF647C2763}" dt="2022-02-02T11:39:25.519" v="16032" actId="478"/>
          <ac:spMkLst>
            <pc:docMk/>
            <pc:sldMk cId="1714433387" sldId="430"/>
            <ac:spMk id="28" creationId="{AFC95984-1A0E-4418-8E57-EAD3B8F5A894}"/>
          </ac:spMkLst>
        </pc:spChg>
        <pc:grpChg chg="add mod">
          <ac:chgData name="Ula Staigyte" userId="f6dd036f-ca91-4ba7-a32e-843cc9983a4c" providerId="ADAL" clId="{025139B8-0A69-4A45-9B3D-4ADF647C2763}" dt="2022-02-02T11:50:51.977" v="16249" actId="1076"/>
          <ac:grpSpMkLst>
            <pc:docMk/>
            <pc:sldMk cId="1714433387" sldId="430"/>
            <ac:grpSpMk id="4" creationId="{760FC8D7-7575-4A58-97D3-F7B4D9FDB523}"/>
          </ac:grpSpMkLst>
        </pc:grpChg>
        <pc:picChg chg="del">
          <ac:chgData name="Ula Staigyte" userId="f6dd036f-ca91-4ba7-a32e-843cc9983a4c" providerId="ADAL" clId="{025139B8-0A69-4A45-9B3D-4ADF647C2763}" dt="2022-01-31T15:48:33.063" v="8001" actId="478"/>
          <ac:picMkLst>
            <pc:docMk/>
            <pc:sldMk cId="1714433387" sldId="430"/>
            <ac:picMk id="13" creationId="{475971C7-5F17-402B-9EAE-0081AE793D96}"/>
          </ac:picMkLst>
        </pc:picChg>
        <pc:picChg chg="add mod">
          <ac:chgData name="Ula Staigyte" userId="f6dd036f-ca91-4ba7-a32e-843cc9983a4c" providerId="ADAL" clId="{025139B8-0A69-4A45-9B3D-4ADF647C2763}" dt="2022-01-31T15:48:38.848" v="8002"/>
          <ac:picMkLst>
            <pc:docMk/>
            <pc:sldMk cId="1714433387" sldId="430"/>
            <ac:picMk id="15" creationId="{0C754F2B-16A3-4674-A04D-C5CCA833F4D1}"/>
          </ac:picMkLst>
        </pc:picChg>
      </pc:sldChg>
      <pc:sldChg chg="addSp modSp add mod addCm">
        <pc:chgData name="Ula Staigyte" userId="f6dd036f-ca91-4ba7-a32e-843cc9983a4c" providerId="ADAL" clId="{025139B8-0A69-4A45-9B3D-4ADF647C2763}" dt="2022-02-08T19:30:58.648" v="18280"/>
        <pc:sldMkLst>
          <pc:docMk/>
          <pc:sldMk cId="3297013483" sldId="431"/>
        </pc:sldMkLst>
        <pc:spChg chg="mod">
          <ac:chgData name="Ula Staigyte" userId="f6dd036f-ca91-4ba7-a32e-843cc9983a4c" providerId="ADAL" clId="{025139B8-0A69-4A45-9B3D-4ADF647C2763}" dt="2022-02-01T11:33:00.893" v="8247" actId="20577"/>
          <ac:spMkLst>
            <pc:docMk/>
            <pc:sldMk cId="3297013483" sldId="431"/>
            <ac:spMk id="2" creationId="{9EC8B8AE-FCA9-4BE4-B28D-28946FEFE017}"/>
          </ac:spMkLst>
        </pc:spChg>
        <pc:spChg chg="mod">
          <ac:chgData name="Ula Staigyte" userId="f6dd036f-ca91-4ba7-a32e-843cc9983a4c" providerId="ADAL" clId="{025139B8-0A69-4A45-9B3D-4ADF647C2763}" dt="2022-02-01T11:27:07.965" v="8222" actId="164"/>
          <ac:spMkLst>
            <pc:docMk/>
            <pc:sldMk cId="3297013483" sldId="431"/>
            <ac:spMk id="15" creationId="{C84A1766-7D5E-472F-9E4B-A33F8B21C45E}"/>
          </ac:spMkLst>
        </pc:spChg>
        <pc:spChg chg="mod">
          <ac:chgData name="Ula Staigyte" userId="f6dd036f-ca91-4ba7-a32e-843cc9983a4c" providerId="ADAL" clId="{025139B8-0A69-4A45-9B3D-4ADF647C2763}" dt="2022-02-01T11:27:07.965" v="8222" actId="164"/>
          <ac:spMkLst>
            <pc:docMk/>
            <pc:sldMk cId="3297013483" sldId="431"/>
            <ac:spMk id="16" creationId="{23F782A6-1AD5-49E6-9216-206747644DD2}"/>
          </ac:spMkLst>
        </pc:spChg>
        <pc:spChg chg="mod">
          <ac:chgData name="Ula Staigyte" userId="f6dd036f-ca91-4ba7-a32e-843cc9983a4c" providerId="ADAL" clId="{025139B8-0A69-4A45-9B3D-4ADF647C2763}" dt="2022-02-01T11:27:07.965" v="8222" actId="164"/>
          <ac:spMkLst>
            <pc:docMk/>
            <pc:sldMk cId="3297013483" sldId="431"/>
            <ac:spMk id="17" creationId="{83ACA927-2D27-4923-AF14-0BEA7DA8105C}"/>
          </ac:spMkLst>
        </pc:spChg>
        <pc:spChg chg="mod">
          <ac:chgData name="Ula Staigyte" userId="f6dd036f-ca91-4ba7-a32e-843cc9983a4c" providerId="ADAL" clId="{025139B8-0A69-4A45-9B3D-4ADF647C2763}" dt="2022-02-01T11:27:07.965" v="8222" actId="164"/>
          <ac:spMkLst>
            <pc:docMk/>
            <pc:sldMk cId="3297013483" sldId="431"/>
            <ac:spMk id="18" creationId="{96C18DBD-EE50-4A29-A29F-54EA6F0780AA}"/>
          </ac:spMkLst>
        </pc:spChg>
        <pc:spChg chg="mod">
          <ac:chgData name="Ula Staigyte" userId="f6dd036f-ca91-4ba7-a32e-843cc9983a4c" providerId="ADAL" clId="{025139B8-0A69-4A45-9B3D-4ADF647C2763}" dt="2022-02-01T11:27:07.965" v="8222" actId="164"/>
          <ac:spMkLst>
            <pc:docMk/>
            <pc:sldMk cId="3297013483" sldId="431"/>
            <ac:spMk id="19" creationId="{92EA9A80-E021-447A-A122-F75E5B81E79E}"/>
          </ac:spMkLst>
        </pc:spChg>
        <pc:spChg chg="mod">
          <ac:chgData name="Ula Staigyte" userId="f6dd036f-ca91-4ba7-a32e-843cc9983a4c" providerId="ADAL" clId="{025139B8-0A69-4A45-9B3D-4ADF647C2763}" dt="2022-02-01T11:27:07.965" v="8222" actId="164"/>
          <ac:spMkLst>
            <pc:docMk/>
            <pc:sldMk cId="3297013483" sldId="431"/>
            <ac:spMk id="20" creationId="{EA50B100-4933-4126-A64D-3BC2533DEC14}"/>
          </ac:spMkLst>
        </pc:spChg>
        <pc:spChg chg="mod">
          <ac:chgData name="Ula Staigyte" userId="f6dd036f-ca91-4ba7-a32e-843cc9983a4c" providerId="ADAL" clId="{025139B8-0A69-4A45-9B3D-4ADF647C2763}" dt="2022-02-01T11:27:07.965" v="8222" actId="164"/>
          <ac:spMkLst>
            <pc:docMk/>
            <pc:sldMk cId="3297013483" sldId="431"/>
            <ac:spMk id="21" creationId="{43915FCC-565A-4EBE-8A2B-ECCD92B9FF09}"/>
          </ac:spMkLst>
        </pc:spChg>
        <pc:spChg chg="mod">
          <ac:chgData name="Ula Staigyte" userId="f6dd036f-ca91-4ba7-a32e-843cc9983a4c" providerId="ADAL" clId="{025139B8-0A69-4A45-9B3D-4ADF647C2763}" dt="2022-02-01T11:27:07.965" v="8222" actId="164"/>
          <ac:spMkLst>
            <pc:docMk/>
            <pc:sldMk cId="3297013483" sldId="431"/>
            <ac:spMk id="22" creationId="{8C7BD469-E23C-4C13-8793-DA39A859ED91}"/>
          </ac:spMkLst>
        </pc:spChg>
        <pc:spChg chg="mod">
          <ac:chgData name="Ula Staigyte" userId="f6dd036f-ca91-4ba7-a32e-843cc9983a4c" providerId="ADAL" clId="{025139B8-0A69-4A45-9B3D-4ADF647C2763}" dt="2022-02-01T11:33:20.323" v="8249" actId="14100"/>
          <ac:spMkLst>
            <pc:docMk/>
            <pc:sldMk cId="3297013483" sldId="431"/>
            <ac:spMk id="23" creationId="{721F6D88-74EC-4AF7-A420-F5B170AD9DC7}"/>
          </ac:spMkLst>
        </pc:spChg>
        <pc:spChg chg="mod">
          <ac:chgData name="Ula Staigyte" userId="f6dd036f-ca91-4ba7-a32e-843cc9983a4c" providerId="ADAL" clId="{025139B8-0A69-4A45-9B3D-4ADF647C2763}" dt="2022-02-01T11:33:09.724" v="8248" actId="14100"/>
          <ac:spMkLst>
            <pc:docMk/>
            <pc:sldMk cId="3297013483" sldId="431"/>
            <ac:spMk id="24" creationId="{79CC2B17-6A40-438E-ACB4-7589A47947A0}"/>
          </ac:spMkLst>
        </pc:spChg>
        <pc:spChg chg="mod">
          <ac:chgData name="Ula Staigyte" userId="f6dd036f-ca91-4ba7-a32e-843cc9983a4c" providerId="ADAL" clId="{025139B8-0A69-4A45-9B3D-4ADF647C2763}" dt="2022-02-01T11:33:55.360" v="8252" actId="20577"/>
          <ac:spMkLst>
            <pc:docMk/>
            <pc:sldMk cId="3297013483" sldId="431"/>
            <ac:spMk id="25" creationId="{713BAD37-3794-4919-B9BE-8E33C9E0A5B2}"/>
          </ac:spMkLst>
        </pc:spChg>
        <pc:spChg chg="mod">
          <ac:chgData name="Ula Staigyte" userId="f6dd036f-ca91-4ba7-a32e-843cc9983a4c" providerId="ADAL" clId="{025139B8-0A69-4A45-9B3D-4ADF647C2763}" dt="2022-02-01T11:27:19.837" v="8226" actId="14100"/>
          <ac:spMkLst>
            <pc:docMk/>
            <pc:sldMk cId="3297013483" sldId="431"/>
            <ac:spMk id="26" creationId="{5092E181-53B9-48A0-8125-A35717003A7C}"/>
          </ac:spMkLst>
        </pc:spChg>
        <pc:spChg chg="add mod">
          <ac:chgData name="Ula Staigyte" userId="f6dd036f-ca91-4ba7-a32e-843cc9983a4c" providerId="ADAL" clId="{025139B8-0A69-4A45-9B3D-4ADF647C2763}" dt="2022-02-01T11:27:07.965" v="8222" actId="164"/>
          <ac:spMkLst>
            <pc:docMk/>
            <pc:sldMk cId="3297013483" sldId="431"/>
            <ac:spMk id="27" creationId="{8DA900C5-7D0E-4EE6-B369-96C06933D81B}"/>
          </ac:spMkLst>
        </pc:spChg>
        <pc:grpChg chg="add mod">
          <ac:chgData name="Ula Staigyte" userId="f6dd036f-ca91-4ba7-a32e-843cc9983a4c" providerId="ADAL" clId="{025139B8-0A69-4A45-9B3D-4ADF647C2763}" dt="2022-02-01T11:27:10.395" v="8223" actId="1076"/>
          <ac:grpSpMkLst>
            <pc:docMk/>
            <pc:sldMk cId="3297013483" sldId="431"/>
            <ac:grpSpMk id="3" creationId="{F3176282-6115-41AE-B319-69CF120EFEAD}"/>
          </ac:grpSpMkLst>
        </pc:grpChg>
      </pc:sldChg>
      <pc:sldChg chg="addSp delSp modSp add mod delCm modCm">
        <pc:chgData name="Ula Staigyte" userId="f6dd036f-ca91-4ba7-a32e-843cc9983a4c" providerId="ADAL" clId="{025139B8-0A69-4A45-9B3D-4ADF647C2763}" dt="2022-02-08T19:38:21.744" v="18303" actId="14100"/>
        <pc:sldMkLst>
          <pc:docMk/>
          <pc:sldMk cId="3347224830" sldId="432"/>
        </pc:sldMkLst>
        <pc:spChg chg="mod">
          <ac:chgData name="Ula Staigyte" userId="f6dd036f-ca91-4ba7-a32e-843cc9983a4c" providerId="ADAL" clId="{025139B8-0A69-4A45-9B3D-4ADF647C2763}" dt="2022-01-31T15:50:51.641" v="8083" actId="20577"/>
          <ac:spMkLst>
            <pc:docMk/>
            <pc:sldMk cId="3347224830" sldId="432"/>
            <ac:spMk id="2" creationId="{BFB04A5A-CE56-40E2-A761-4E5B7491DFD2}"/>
          </ac:spMkLst>
        </pc:spChg>
        <pc:spChg chg="mod">
          <ac:chgData name="Ula Staigyte" userId="f6dd036f-ca91-4ba7-a32e-843cc9983a4c" providerId="ADAL" clId="{025139B8-0A69-4A45-9B3D-4ADF647C2763}" dt="2022-02-08T19:38:21.744" v="18303" actId="14100"/>
          <ac:spMkLst>
            <pc:docMk/>
            <pc:sldMk cId="3347224830" sldId="432"/>
            <ac:spMk id="12" creationId="{63D78838-885A-4346-B010-F08D598B4AFF}"/>
          </ac:spMkLst>
        </pc:spChg>
        <pc:spChg chg="add mod">
          <ac:chgData name="Ula Staigyte" userId="f6dd036f-ca91-4ba7-a32e-843cc9983a4c" providerId="ADAL" clId="{025139B8-0A69-4A45-9B3D-4ADF647C2763}" dt="2022-02-08T19:38:13.524" v="18302" actId="14100"/>
          <ac:spMkLst>
            <pc:docMk/>
            <pc:sldMk cId="3347224830" sldId="432"/>
            <ac:spMk id="13" creationId="{3738D5E0-FD73-4A8A-B94E-90336F4C6DFD}"/>
          </ac:spMkLst>
        </pc:spChg>
        <pc:spChg chg="mod">
          <ac:chgData name="Ula Staigyte" userId="f6dd036f-ca91-4ba7-a32e-843cc9983a4c" providerId="ADAL" clId="{025139B8-0A69-4A45-9B3D-4ADF647C2763}" dt="2022-02-02T09:18:07.178" v="14415" actId="14100"/>
          <ac:spMkLst>
            <pc:docMk/>
            <pc:sldMk cId="3347224830" sldId="432"/>
            <ac:spMk id="14" creationId="{3AD0183F-7B61-4213-A7D5-A5E1B9531971}"/>
          </ac:spMkLst>
        </pc:spChg>
        <pc:spChg chg="mod">
          <ac:chgData name="Ula Staigyte" userId="f6dd036f-ca91-4ba7-a32e-843cc9983a4c" providerId="ADAL" clId="{025139B8-0A69-4A45-9B3D-4ADF647C2763}" dt="2022-02-08T19:37:38.442" v="18295" actId="1076"/>
          <ac:spMkLst>
            <pc:docMk/>
            <pc:sldMk cId="3347224830" sldId="432"/>
            <ac:spMk id="16" creationId="{BE60E6FA-EC07-4326-AB9D-DB3AA8A4E7B8}"/>
          </ac:spMkLst>
        </pc:spChg>
        <pc:spChg chg="mod">
          <ac:chgData name="Ula Staigyte" userId="f6dd036f-ca91-4ba7-a32e-843cc9983a4c" providerId="ADAL" clId="{025139B8-0A69-4A45-9B3D-4ADF647C2763}" dt="2022-02-08T18:11:29.638" v="18081" actId="20577"/>
          <ac:spMkLst>
            <pc:docMk/>
            <pc:sldMk cId="3347224830" sldId="432"/>
            <ac:spMk id="18" creationId="{8F508EF2-9BE8-458E-9330-99BC8D833BE5}"/>
          </ac:spMkLst>
        </pc:spChg>
        <pc:spChg chg="add del">
          <ac:chgData name="Ula Staigyte" userId="f6dd036f-ca91-4ba7-a32e-843cc9983a4c" providerId="ADAL" clId="{025139B8-0A69-4A45-9B3D-4ADF647C2763}" dt="2022-02-02T08:58:51.953" v="14071" actId="22"/>
          <ac:spMkLst>
            <pc:docMk/>
            <pc:sldMk cId="3347224830" sldId="432"/>
            <ac:spMk id="19" creationId="{86B5DA48-29B8-4957-A5A1-8DAD9C42C6EB}"/>
          </ac:spMkLst>
        </pc:spChg>
        <pc:spChg chg="del mod">
          <ac:chgData name="Ula Staigyte" userId="f6dd036f-ca91-4ba7-a32e-843cc9983a4c" providerId="ADAL" clId="{025139B8-0A69-4A45-9B3D-4ADF647C2763}" dt="2022-02-02T09:02:43.457" v="14164" actId="478"/>
          <ac:spMkLst>
            <pc:docMk/>
            <pc:sldMk cId="3347224830" sldId="432"/>
            <ac:spMk id="20" creationId="{9A4CA3F3-74D7-4FA0-9EDE-26A5889688B3}"/>
          </ac:spMkLst>
        </pc:spChg>
        <pc:spChg chg="add del">
          <ac:chgData name="Ula Staigyte" userId="f6dd036f-ca91-4ba7-a32e-843cc9983a4c" providerId="ADAL" clId="{025139B8-0A69-4A45-9B3D-4ADF647C2763}" dt="2022-02-02T09:01:05.255" v="14155" actId="22"/>
          <ac:spMkLst>
            <pc:docMk/>
            <pc:sldMk cId="3347224830" sldId="432"/>
            <ac:spMk id="21" creationId="{500F72C3-AE78-41C6-8608-E3505F7A670B}"/>
          </ac:spMkLst>
        </pc:spChg>
        <pc:spChg chg="mod">
          <ac:chgData name="Ula Staigyte" userId="f6dd036f-ca91-4ba7-a32e-843cc9983a4c" providerId="ADAL" clId="{025139B8-0A69-4A45-9B3D-4ADF647C2763}" dt="2022-02-08T19:37:22.577" v="18291" actId="14100"/>
          <ac:spMkLst>
            <pc:docMk/>
            <pc:sldMk cId="3347224830" sldId="432"/>
            <ac:spMk id="22" creationId="{A7115C67-DECF-4BF7-8BCB-741E6031F338}"/>
          </ac:spMkLst>
        </pc:spChg>
        <pc:spChg chg="add mod">
          <ac:chgData name="Ula Staigyte" userId="f6dd036f-ca91-4ba7-a32e-843cc9983a4c" providerId="ADAL" clId="{025139B8-0A69-4A45-9B3D-4ADF647C2763}" dt="2022-02-08T18:09:20.871" v="18065" actId="123"/>
          <ac:spMkLst>
            <pc:docMk/>
            <pc:sldMk cId="3347224830" sldId="432"/>
            <ac:spMk id="23" creationId="{2894B733-BB0C-4D37-912F-BE8989FD9B19}"/>
          </ac:spMkLst>
        </pc:spChg>
        <pc:spChg chg="del mod">
          <ac:chgData name="Ula Staigyte" userId="f6dd036f-ca91-4ba7-a32e-843cc9983a4c" providerId="ADAL" clId="{025139B8-0A69-4A45-9B3D-4ADF647C2763}" dt="2022-02-02T09:04:05.757" v="14278" actId="478"/>
          <ac:spMkLst>
            <pc:docMk/>
            <pc:sldMk cId="3347224830" sldId="432"/>
            <ac:spMk id="25" creationId="{4955CFF6-8826-442F-986C-4FC0B028A2AC}"/>
          </ac:spMkLst>
        </pc:spChg>
        <pc:spChg chg="mod">
          <ac:chgData name="Ula Staigyte" userId="f6dd036f-ca91-4ba7-a32e-843cc9983a4c" providerId="ADAL" clId="{025139B8-0A69-4A45-9B3D-4ADF647C2763}" dt="2022-02-08T19:37:19.655" v="18290" actId="14100"/>
          <ac:spMkLst>
            <pc:docMk/>
            <pc:sldMk cId="3347224830" sldId="432"/>
            <ac:spMk id="26" creationId="{86157154-ECBC-4576-A583-C26C510ED531}"/>
          </ac:spMkLst>
        </pc:spChg>
        <pc:spChg chg="mod">
          <ac:chgData name="Ula Staigyte" userId="f6dd036f-ca91-4ba7-a32e-843cc9983a4c" providerId="ADAL" clId="{025139B8-0A69-4A45-9B3D-4ADF647C2763}" dt="2022-02-08T19:37:11.712" v="18288" actId="14100"/>
          <ac:spMkLst>
            <pc:docMk/>
            <pc:sldMk cId="3347224830" sldId="432"/>
            <ac:spMk id="27" creationId="{2FDDBED7-0881-405D-90E6-FE3D738DC2F0}"/>
          </ac:spMkLst>
        </pc:spChg>
        <pc:spChg chg="del">
          <ac:chgData name="Ula Staigyte" userId="f6dd036f-ca91-4ba7-a32e-843cc9983a4c" providerId="ADAL" clId="{025139B8-0A69-4A45-9B3D-4ADF647C2763}" dt="2022-02-02T09:13:24.790" v="14287" actId="478"/>
          <ac:spMkLst>
            <pc:docMk/>
            <pc:sldMk cId="3347224830" sldId="432"/>
            <ac:spMk id="28" creationId="{AFC95984-1A0E-4418-8E57-EAD3B8F5A894}"/>
          </ac:spMkLst>
        </pc:spChg>
        <pc:grpChg chg="add mod">
          <ac:chgData name="Ula Staigyte" userId="f6dd036f-ca91-4ba7-a32e-843cc9983a4c" providerId="ADAL" clId="{025139B8-0A69-4A45-9B3D-4ADF647C2763}" dt="2022-02-08T19:37:28.838" v="18293" actId="1076"/>
          <ac:grpSpMkLst>
            <pc:docMk/>
            <pc:sldMk cId="3347224830" sldId="432"/>
            <ac:grpSpMk id="3" creationId="{50A859A5-D685-4F7E-9CE5-580BE9873849}"/>
          </ac:grpSpMkLst>
        </pc:grpChg>
        <pc:picChg chg="del">
          <ac:chgData name="Ula Staigyte" userId="f6dd036f-ca91-4ba7-a32e-843cc9983a4c" providerId="ADAL" clId="{025139B8-0A69-4A45-9B3D-4ADF647C2763}" dt="2022-01-31T15:50:46.380" v="8068" actId="478"/>
          <ac:picMkLst>
            <pc:docMk/>
            <pc:sldMk cId="3347224830" sldId="432"/>
            <ac:picMk id="15" creationId="{0C754F2B-16A3-4674-A04D-C5CCA833F4D1}"/>
          </ac:picMkLst>
        </pc:picChg>
        <pc:picChg chg="add mod">
          <ac:chgData name="Ula Staigyte" userId="f6dd036f-ca91-4ba7-a32e-843cc9983a4c" providerId="ADAL" clId="{025139B8-0A69-4A45-9B3D-4ADF647C2763}" dt="2022-01-31T15:50:58.810" v="8084"/>
          <ac:picMkLst>
            <pc:docMk/>
            <pc:sldMk cId="3347224830" sldId="432"/>
            <ac:picMk id="17" creationId="{FA87D82A-66A3-4B05-84E1-6DAE2AED5F22}"/>
          </ac:picMkLst>
        </pc:picChg>
      </pc:sldChg>
      <pc:sldChg chg="addSp delSp modSp add mod addCm delCm modCm">
        <pc:chgData name="Ula Staigyte" userId="f6dd036f-ca91-4ba7-a32e-843cc9983a4c" providerId="ADAL" clId="{025139B8-0A69-4A45-9B3D-4ADF647C2763}" dt="2022-02-03T19:29:18.446" v="17356" actId="1076"/>
        <pc:sldMkLst>
          <pc:docMk/>
          <pc:sldMk cId="1215038336" sldId="433"/>
        </pc:sldMkLst>
        <pc:spChg chg="mod">
          <ac:chgData name="Ula Staigyte" userId="f6dd036f-ca91-4ba7-a32e-843cc9983a4c" providerId="ADAL" clId="{025139B8-0A69-4A45-9B3D-4ADF647C2763}" dt="2022-02-03T19:29:02.196" v="17354" actId="1076"/>
          <ac:spMkLst>
            <pc:docMk/>
            <pc:sldMk cId="1215038336" sldId="433"/>
            <ac:spMk id="2" creationId="{2ED4ECBB-2BBD-4A4B-A32D-54B46AD654F9}"/>
          </ac:spMkLst>
        </pc:spChg>
        <pc:spChg chg="add del mod">
          <ac:chgData name="Ula Staigyte" userId="f6dd036f-ca91-4ba7-a32e-843cc9983a4c" providerId="ADAL" clId="{025139B8-0A69-4A45-9B3D-4ADF647C2763}" dt="2022-02-03T19:25:24.197" v="17320" actId="478"/>
          <ac:spMkLst>
            <pc:docMk/>
            <pc:sldMk cId="1215038336" sldId="433"/>
            <ac:spMk id="4" creationId="{DFE128EA-103F-4A28-A2B0-0E9B70236FEC}"/>
          </ac:spMkLst>
        </pc:spChg>
        <pc:spChg chg="mod">
          <ac:chgData name="Ula Staigyte" userId="f6dd036f-ca91-4ba7-a32e-843cc9983a4c" providerId="ADAL" clId="{025139B8-0A69-4A45-9B3D-4ADF647C2763}" dt="2022-02-03T19:29:09.186" v="17355" actId="1076"/>
          <ac:spMkLst>
            <pc:docMk/>
            <pc:sldMk cId="1215038336" sldId="433"/>
            <ac:spMk id="11" creationId="{AD90FCCA-D938-4494-828F-92C14942FAB4}"/>
          </ac:spMkLst>
        </pc:spChg>
        <pc:graphicFrameChg chg="mod modGraphic">
          <ac:chgData name="Ula Staigyte" userId="f6dd036f-ca91-4ba7-a32e-843cc9983a4c" providerId="ADAL" clId="{025139B8-0A69-4A45-9B3D-4ADF647C2763}" dt="2022-02-03T19:29:18.446" v="17356" actId="1076"/>
          <ac:graphicFrameMkLst>
            <pc:docMk/>
            <pc:sldMk cId="1215038336" sldId="433"/>
            <ac:graphicFrameMk id="3" creationId="{B4DC0941-E7A6-4449-BA2B-4E796BBF002C}"/>
          </ac:graphicFrameMkLst>
        </pc:graphicFrameChg>
      </pc:sldChg>
      <pc:sldChg chg="addSp delSp modSp add mod delCm modCm">
        <pc:chgData name="Ula Staigyte" userId="f6dd036f-ca91-4ba7-a32e-843cc9983a4c" providerId="ADAL" clId="{025139B8-0A69-4A45-9B3D-4ADF647C2763}" dt="2022-02-03T19:34:29.208" v="17393" actId="403"/>
        <pc:sldMkLst>
          <pc:docMk/>
          <pc:sldMk cId="3018874933" sldId="434"/>
        </pc:sldMkLst>
        <pc:spChg chg="mod">
          <ac:chgData name="Ula Staigyte" userId="f6dd036f-ca91-4ba7-a32e-843cc9983a4c" providerId="ADAL" clId="{025139B8-0A69-4A45-9B3D-4ADF647C2763}" dt="2022-02-01T13:40:18.776" v="10753" actId="20577"/>
          <ac:spMkLst>
            <pc:docMk/>
            <pc:sldMk cId="3018874933" sldId="434"/>
            <ac:spMk id="2" creationId="{48621CD8-4BF3-40A5-92AB-A9A9E6FF0A68}"/>
          </ac:spMkLst>
        </pc:spChg>
        <pc:graphicFrameChg chg="add del mod modGraphic">
          <ac:chgData name="Ula Staigyte" userId="f6dd036f-ca91-4ba7-a32e-843cc9983a4c" providerId="ADAL" clId="{025139B8-0A69-4A45-9B3D-4ADF647C2763}" dt="2022-02-03T19:34:29.208" v="17393" actId="403"/>
          <ac:graphicFrameMkLst>
            <pc:docMk/>
            <pc:sldMk cId="3018874933" sldId="434"/>
            <ac:graphicFrameMk id="4" creationId="{CBBCBFFE-AEBA-4085-B383-FC30DD690060}"/>
          </ac:graphicFrameMkLst>
        </pc:graphicFrameChg>
      </pc:sldChg>
      <pc:sldChg chg="modSp add mod">
        <pc:chgData name="Ula Staigyte" userId="f6dd036f-ca91-4ba7-a32e-843cc9983a4c" providerId="ADAL" clId="{025139B8-0A69-4A45-9B3D-4ADF647C2763}" dt="2022-02-03T19:34:54.784" v="17396" actId="403"/>
        <pc:sldMkLst>
          <pc:docMk/>
          <pc:sldMk cId="841550537" sldId="435"/>
        </pc:sldMkLst>
        <pc:spChg chg="mod">
          <ac:chgData name="Ula Staigyte" userId="f6dd036f-ca91-4ba7-a32e-843cc9983a4c" providerId="ADAL" clId="{025139B8-0A69-4A45-9B3D-4ADF647C2763}" dt="2022-02-01T13:40:26.598" v="10759" actId="20577"/>
          <ac:spMkLst>
            <pc:docMk/>
            <pc:sldMk cId="841550537" sldId="435"/>
            <ac:spMk id="2" creationId="{48621CD8-4BF3-40A5-92AB-A9A9E6FF0A68}"/>
          </ac:spMkLst>
        </pc:spChg>
        <pc:graphicFrameChg chg="mod modGraphic">
          <ac:chgData name="Ula Staigyte" userId="f6dd036f-ca91-4ba7-a32e-843cc9983a4c" providerId="ADAL" clId="{025139B8-0A69-4A45-9B3D-4ADF647C2763}" dt="2022-02-03T19:34:54.784" v="17396" actId="403"/>
          <ac:graphicFrameMkLst>
            <pc:docMk/>
            <pc:sldMk cId="841550537" sldId="435"/>
            <ac:graphicFrameMk id="4" creationId="{CBBCBFFE-AEBA-4085-B383-FC30DD690060}"/>
          </ac:graphicFrameMkLst>
        </pc:graphicFrameChg>
      </pc:sldChg>
      <pc:sldChg chg="addSp delSp modSp add mod">
        <pc:chgData name="Ula Staigyte" userId="f6dd036f-ca91-4ba7-a32e-843cc9983a4c" providerId="ADAL" clId="{025139B8-0A69-4A45-9B3D-4ADF647C2763}" dt="2022-02-08T19:22:18.197" v="18109" actId="21"/>
        <pc:sldMkLst>
          <pc:docMk/>
          <pc:sldMk cId="3765793736" sldId="436"/>
        </pc:sldMkLst>
        <pc:spChg chg="mod">
          <ac:chgData name="Ula Staigyte" userId="f6dd036f-ca91-4ba7-a32e-843cc9983a4c" providerId="ADAL" clId="{025139B8-0A69-4A45-9B3D-4ADF647C2763}" dt="2022-02-01T14:49:42.478" v="11678" actId="20577"/>
          <ac:spMkLst>
            <pc:docMk/>
            <pc:sldMk cId="3765793736" sldId="436"/>
            <ac:spMk id="2" creationId="{BFB04A5A-CE56-40E2-A761-4E5B7491DFD2}"/>
          </ac:spMkLst>
        </pc:spChg>
        <pc:spChg chg="mod">
          <ac:chgData name="Ula Staigyte" userId="f6dd036f-ca91-4ba7-a32e-843cc9983a4c" providerId="ADAL" clId="{025139B8-0A69-4A45-9B3D-4ADF647C2763}" dt="2022-02-08T17:35:35.199" v="17988" actId="1076"/>
          <ac:spMkLst>
            <pc:docMk/>
            <pc:sldMk cId="3765793736" sldId="436"/>
            <ac:spMk id="3" creationId="{89BDAEB1-D98C-4B24-ACFA-EFC81503D20B}"/>
          </ac:spMkLst>
        </pc:spChg>
        <pc:spChg chg="mod">
          <ac:chgData name="Ula Staigyte" userId="f6dd036f-ca91-4ba7-a32e-843cc9983a4c" providerId="ADAL" clId="{025139B8-0A69-4A45-9B3D-4ADF647C2763}" dt="2022-02-07T08:44:58.437" v="17513" actId="123"/>
          <ac:spMkLst>
            <pc:docMk/>
            <pc:sldMk cId="3765793736" sldId="436"/>
            <ac:spMk id="12" creationId="{63D78838-885A-4346-B010-F08D598B4AFF}"/>
          </ac:spMkLst>
        </pc:spChg>
        <pc:spChg chg="mod">
          <ac:chgData name="Ula Staigyte" userId="f6dd036f-ca91-4ba7-a32e-843cc9983a4c" providerId="ADAL" clId="{025139B8-0A69-4A45-9B3D-4ADF647C2763}" dt="2022-02-08T17:36:00.109" v="17991" actId="14100"/>
          <ac:spMkLst>
            <pc:docMk/>
            <pc:sldMk cId="3765793736" sldId="436"/>
            <ac:spMk id="14" creationId="{3AD0183F-7B61-4213-A7D5-A5E1B9531971}"/>
          </ac:spMkLst>
        </pc:spChg>
        <pc:spChg chg="mod">
          <ac:chgData name="Ula Staigyte" userId="f6dd036f-ca91-4ba7-a32e-843cc9983a4c" providerId="ADAL" clId="{025139B8-0A69-4A45-9B3D-4ADF647C2763}" dt="2022-02-01T14:54:45.985" v="11734" actId="14100"/>
          <ac:spMkLst>
            <pc:docMk/>
            <pc:sldMk cId="3765793736" sldId="436"/>
            <ac:spMk id="16" creationId="{BE60E6FA-EC07-4326-AB9D-DB3AA8A4E7B8}"/>
          </ac:spMkLst>
        </pc:spChg>
        <pc:spChg chg="add del">
          <ac:chgData name="Ula Staigyte" userId="f6dd036f-ca91-4ba7-a32e-843cc9983a4c" providerId="ADAL" clId="{025139B8-0A69-4A45-9B3D-4ADF647C2763}" dt="2022-02-01T14:52:09.492" v="11706" actId="22"/>
          <ac:spMkLst>
            <pc:docMk/>
            <pc:sldMk cId="3765793736" sldId="436"/>
            <ac:spMk id="17" creationId="{8FA6B19C-3F9B-4BBB-817A-4561668BFE3B}"/>
          </ac:spMkLst>
        </pc:spChg>
        <pc:spChg chg="add del mod">
          <ac:chgData name="Ula Staigyte" userId="f6dd036f-ca91-4ba7-a32e-843cc9983a4c" providerId="ADAL" clId="{025139B8-0A69-4A45-9B3D-4ADF647C2763}" dt="2022-02-08T19:22:18.197" v="18109" actId="21"/>
          <ac:spMkLst>
            <pc:docMk/>
            <pc:sldMk cId="3765793736" sldId="436"/>
            <ac:spMk id="17" creationId="{D3556100-3C82-4334-AA3D-79284D03BAD0}"/>
          </ac:spMkLst>
        </pc:spChg>
        <pc:spChg chg="mod">
          <ac:chgData name="Ula Staigyte" userId="f6dd036f-ca91-4ba7-a32e-843cc9983a4c" providerId="ADAL" clId="{025139B8-0A69-4A45-9B3D-4ADF647C2763}" dt="2022-02-08T17:34:10.108" v="17895" actId="20577"/>
          <ac:spMkLst>
            <pc:docMk/>
            <pc:sldMk cId="3765793736" sldId="436"/>
            <ac:spMk id="18" creationId="{8F508EF2-9BE8-458E-9330-99BC8D833BE5}"/>
          </ac:spMkLst>
        </pc:spChg>
        <pc:spChg chg="add del">
          <ac:chgData name="Ula Staigyte" userId="f6dd036f-ca91-4ba7-a32e-843cc9983a4c" providerId="ADAL" clId="{025139B8-0A69-4A45-9B3D-4ADF647C2763}" dt="2022-02-01T14:53:38.127" v="11716" actId="22"/>
          <ac:spMkLst>
            <pc:docMk/>
            <pc:sldMk cId="3765793736" sldId="436"/>
            <ac:spMk id="19" creationId="{8589DCCD-646B-41D6-8961-6F1935C31E95}"/>
          </ac:spMkLst>
        </pc:spChg>
        <pc:spChg chg="mod">
          <ac:chgData name="Ula Staigyte" userId="f6dd036f-ca91-4ba7-a32e-843cc9983a4c" providerId="ADAL" clId="{025139B8-0A69-4A45-9B3D-4ADF647C2763}" dt="2022-02-02T07:37:00.993" v="12799" actId="1076"/>
          <ac:spMkLst>
            <pc:docMk/>
            <pc:sldMk cId="3765793736" sldId="436"/>
            <ac:spMk id="20" creationId="{9A4CA3F3-74D7-4FA0-9EDE-26A5889688B3}"/>
          </ac:spMkLst>
        </pc:spChg>
        <pc:spChg chg="add mod">
          <ac:chgData name="Ula Staigyte" userId="f6dd036f-ca91-4ba7-a32e-843cc9983a4c" providerId="ADAL" clId="{025139B8-0A69-4A45-9B3D-4ADF647C2763}" dt="2022-02-07T09:58:21.700" v="17518" actId="123"/>
          <ac:spMkLst>
            <pc:docMk/>
            <pc:sldMk cId="3765793736" sldId="436"/>
            <ac:spMk id="21" creationId="{3FB5F30F-E96E-49FC-A99B-6CE8B42EFD56}"/>
          </ac:spMkLst>
        </pc:spChg>
        <pc:spChg chg="mod">
          <ac:chgData name="Ula Staigyte" userId="f6dd036f-ca91-4ba7-a32e-843cc9983a4c" providerId="ADAL" clId="{025139B8-0A69-4A45-9B3D-4ADF647C2763}" dt="2022-02-02T07:36:40.631" v="12798" actId="14100"/>
          <ac:spMkLst>
            <pc:docMk/>
            <pc:sldMk cId="3765793736" sldId="436"/>
            <ac:spMk id="22" creationId="{A7115C67-DECF-4BF7-8BCB-741E6031F338}"/>
          </ac:spMkLst>
        </pc:spChg>
        <pc:spChg chg="mod">
          <ac:chgData name="Ula Staigyte" userId="f6dd036f-ca91-4ba7-a32e-843cc9983a4c" providerId="ADAL" clId="{025139B8-0A69-4A45-9B3D-4ADF647C2763}" dt="2022-02-08T17:32:38.038" v="17872" actId="20577"/>
          <ac:spMkLst>
            <pc:docMk/>
            <pc:sldMk cId="3765793736" sldId="436"/>
            <ac:spMk id="25" creationId="{4955CFF6-8826-442F-986C-4FC0B028A2AC}"/>
          </ac:spMkLst>
        </pc:spChg>
        <pc:spChg chg="mod">
          <ac:chgData name="Ula Staigyte" userId="f6dd036f-ca91-4ba7-a32e-843cc9983a4c" providerId="ADAL" clId="{025139B8-0A69-4A45-9B3D-4ADF647C2763}" dt="2022-02-07T09:58:13.568" v="17515" actId="123"/>
          <ac:spMkLst>
            <pc:docMk/>
            <pc:sldMk cId="3765793736" sldId="436"/>
            <ac:spMk id="26" creationId="{86157154-ECBC-4576-A583-C26C510ED531}"/>
          </ac:spMkLst>
        </pc:spChg>
        <pc:spChg chg="mod">
          <ac:chgData name="Ula Staigyte" userId="f6dd036f-ca91-4ba7-a32e-843cc9983a4c" providerId="ADAL" clId="{025139B8-0A69-4A45-9B3D-4ADF647C2763}" dt="2022-02-07T09:58:08.749" v="17514" actId="123"/>
          <ac:spMkLst>
            <pc:docMk/>
            <pc:sldMk cId="3765793736" sldId="436"/>
            <ac:spMk id="27" creationId="{2FDDBED7-0881-405D-90E6-FE3D738DC2F0}"/>
          </ac:spMkLst>
        </pc:spChg>
        <pc:spChg chg="del mod">
          <ac:chgData name="Ula Staigyte" userId="f6dd036f-ca91-4ba7-a32e-843cc9983a4c" providerId="ADAL" clId="{025139B8-0A69-4A45-9B3D-4ADF647C2763}" dt="2022-02-01T14:57:49.911" v="11762" actId="478"/>
          <ac:spMkLst>
            <pc:docMk/>
            <pc:sldMk cId="3765793736" sldId="436"/>
            <ac:spMk id="28" creationId="{AFC95984-1A0E-4418-8E57-EAD3B8F5A894}"/>
          </ac:spMkLst>
        </pc:spChg>
        <pc:grpChg chg="add mod">
          <ac:chgData name="Ula Staigyte" userId="f6dd036f-ca91-4ba7-a32e-843cc9983a4c" providerId="ADAL" clId="{025139B8-0A69-4A45-9B3D-4ADF647C2763}" dt="2022-02-01T14:55:16.417" v="11740" actId="1076"/>
          <ac:grpSpMkLst>
            <pc:docMk/>
            <pc:sldMk cId="3765793736" sldId="436"/>
            <ac:grpSpMk id="4" creationId="{BEB2AC2F-24FD-4C55-A74C-BD140FD56799}"/>
          </ac:grpSpMkLst>
        </pc:grpChg>
        <pc:picChg chg="del">
          <ac:chgData name="Ula Staigyte" userId="f6dd036f-ca91-4ba7-a32e-843cc9983a4c" providerId="ADAL" clId="{025139B8-0A69-4A45-9B3D-4ADF647C2763}" dt="2022-02-01T14:49:47.184" v="11679" actId="478"/>
          <ac:picMkLst>
            <pc:docMk/>
            <pc:sldMk cId="3765793736" sldId="436"/>
            <ac:picMk id="13" creationId="{475971C7-5F17-402B-9EAE-0081AE793D96}"/>
          </ac:picMkLst>
        </pc:picChg>
        <pc:picChg chg="add mod">
          <ac:chgData name="Ula Staigyte" userId="f6dd036f-ca91-4ba7-a32e-843cc9983a4c" providerId="ADAL" clId="{025139B8-0A69-4A45-9B3D-4ADF647C2763}" dt="2022-02-08T17:35:30.670" v="17987"/>
          <ac:picMkLst>
            <pc:docMk/>
            <pc:sldMk cId="3765793736" sldId="436"/>
            <ac:picMk id="15" creationId="{8DAFBE86-CB01-47D2-8E0A-4A1630B15216}"/>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D630C0-CF93-4D11-A828-5AAA7E889F17}"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en-GB"/>
        </a:p>
      </dgm:t>
    </dgm:pt>
    <dgm:pt modelId="{2DE7EF18-40FD-4EF9-BE3C-F10E530B1176}">
      <dgm:prSet phldrT="[Text]" custT="1"/>
      <dgm:spPr/>
      <dgm:t>
        <a:bodyPr/>
        <a:lstStyle/>
        <a:p>
          <a:r>
            <a:rPr lang="lt-LT" sz="1200"/>
            <a:t>PKT programų rengimas</a:t>
          </a:r>
          <a:endParaRPr lang="en-GB" sz="1200"/>
        </a:p>
      </dgm:t>
    </dgm:pt>
    <dgm:pt modelId="{2C01EFD9-551E-4A9D-A9F7-399A479C35AE}" type="parTrans" cxnId="{34860782-3F18-466D-B684-D4BC6A9C04BE}">
      <dgm:prSet/>
      <dgm:spPr/>
      <dgm:t>
        <a:bodyPr/>
        <a:lstStyle/>
        <a:p>
          <a:endParaRPr lang="en-GB" sz="1200"/>
        </a:p>
      </dgm:t>
    </dgm:pt>
    <dgm:pt modelId="{0640647B-A58A-48CD-9525-827CA49A35E7}" type="sibTrans" cxnId="{34860782-3F18-466D-B684-D4BC6A9C04BE}">
      <dgm:prSet/>
      <dgm:spPr/>
      <dgm:t>
        <a:bodyPr/>
        <a:lstStyle/>
        <a:p>
          <a:endParaRPr lang="en-GB" sz="1200"/>
        </a:p>
      </dgm:t>
    </dgm:pt>
    <dgm:pt modelId="{07089B23-5E88-495A-8D15-1B8491B4936B}">
      <dgm:prSet phldrT="[Text]" custT="1"/>
      <dgm:spPr/>
      <dgm:t>
        <a:bodyPr/>
        <a:lstStyle/>
        <a:p>
          <a:r>
            <a:rPr lang="lt-LT" sz="1200"/>
            <a:t>PKT programų vykdymas</a:t>
          </a:r>
          <a:endParaRPr lang="en-GB" sz="1200"/>
        </a:p>
      </dgm:t>
    </dgm:pt>
    <dgm:pt modelId="{6E4C8BAA-51B7-44EA-AA8E-52FDF1D85707}" type="parTrans" cxnId="{DF66138A-B459-490E-B5EA-D6A04DDC8574}">
      <dgm:prSet/>
      <dgm:spPr/>
      <dgm:t>
        <a:bodyPr/>
        <a:lstStyle/>
        <a:p>
          <a:endParaRPr lang="en-GB" sz="1200"/>
        </a:p>
      </dgm:t>
    </dgm:pt>
    <dgm:pt modelId="{9A8A3E0E-CEED-4A96-BDBD-A7D3CC78E964}" type="sibTrans" cxnId="{DF66138A-B459-490E-B5EA-D6A04DDC8574}">
      <dgm:prSet/>
      <dgm:spPr/>
      <dgm:t>
        <a:bodyPr/>
        <a:lstStyle/>
        <a:p>
          <a:endParaRPr lang="en-GB" sz="1200"/>
        </a:p>
      </dgm:t>
    </dgm:pt>
    <dgm:pt modelId="{30D81D54-5030-4B77-98EF-32D8CAB17B18}">
      <dgm:prSet phldrT="[Text]" custT="1"/>
      <dgm:spPr/>
      <dgm:t>
        <a:bodyPr/>
        <a:lstStyle/>
        <a:p>
          <a:r>
            <a:rPr lang="lt-LT" sz="1200"/>
            <a:t>PKT stebėsena</a:t>
          </a:r>
          <a:endParaRPr lang="en-GB" sz="1200"/>
        </a:p>
      </dgm:t>
    </dgm:pt>
    <dgm:pt modelId="{561AE1C3-E548-4DC9-878C-978A12751580}" type="parTrans" cxnId="{3D01F25E-A579-4FA0-9064-7426A288475A}">
      <dgm:prSet/>
      <dgm:spPr/>
      <dgm:t>
        <a:bodyPr/>
        <a:lstStyle/>
        <a:p>
          <a:endParaRPr lang="en-GB" sz="1200"/>
        </a:p>
      </dgm:t>
    </dgm:pt>
    <dgm:pt modelId="{7BCA2E79-55F1-42BE-9EBF-145E06F44AD2}" type="sibTrans" cxnId="{3D01F25E-A579-4FA0-9064-7426A288475A}">
      <dgm:prSet/>
      <dgm:spPr/>
      <dgm:t>
        <a:bodyPr/>
        <a:lstStyle/>
        <a:p>
          <a:endParaRPr lang="en-GB" sz="1200"/>
        </a:p>
      </dgm:t>
    </dgm:pt>
    <dgm:pt modelId="{3257A794-7FEE-42CE-BC48-4156EC17DA48}">
      <dgm:prSet phldrT="[Text]" custT="1"/>
      <dgm:spPr/>
      <dgm:t>
        <a:bodyPr/>
        <a:lstStyle/>
        <a:p>
          <a:r>
            <a:rPr lang="lt-LT" sz="1200"/>
            <a:t>PKT programų kokybės užtikrinimas</a:t>
          </a:r>
          <a:endParaRPr lang="en-GB" sz="1200"/>
        </a:p>
      </dgm:t>
    </dgm:pt>
    <dgm:pt modelId="{4A6A4783-72AF-4BB3-BE68-029D9B99508E}" type="parTrans" cxnId="{A138F87E-19E9-4170-904E-E5DAC3183431}">
      <dgm:prSet/>
      <dgm:spPr/>
      <dgm:t>
        <a:bodyPr/>
        <a:lstStyle/>
        <a:p>
          <a:endParaRPr lang="en-GB" sz="1200"/>
        </a:p>
      </dgm:t>
    </dgm:pt>
    <dgm:pt modelId="{5401C1CC-BFF5-4ECB-B307-D901029BC0D2}" type="sibTrans" cxnId="{A138F87E-19E9-4170-904E-E5DAC3183431}">
      <dgm:prSet/>
      <dgm:spPr/>
      <dgm:t>
        <a:bodyPr/>
        <a:lstStyle/>
        <a:p>
          <a:endParaRPr lang="en-GB" sz="1200"/>
        </a:p>
      </dgm:t>
    </dgm:pt>
    <dgm:pt modelId="{AECB5FEE-9C99-4BB5-85F0-2FE54DDE1468}" type="pres">
      <dgm:prSet presAssocID="{A9D630C0-CF93-4D11-A828-5AAA7E889F17}" presName="Name0" presStyleCnt="0">
        <dgm:presLayoutVars>
          <dgm:chMax val="7"/>
          <dgm:chPref val="7"/>
          <dgm:dir/>
          <dgm:animLvl val="lvl"/>
        </dgm:presLayoutVars>
      </dgm:prSet>
      <dgm:spPr/>
      <dgm:t>
        <a:bodyPr/>
        <a:lstStyle/>
        <a:p>
          <a:endParaRPr lang="lt-LT"/>
        </a:p>
      </dgm:t>
    </dgm:pt>
    <dgm:pt modelId="{B9C241C2-D171-421A-A036-BF0CCCD90A98}" type="pres">
      <dgm:prSet presAssocID="{2DE7EF18-40FD-4EF9-BE3C-F10E530B1176}" presName="Accent1" presStyleCnt="0"/>
      <dgm:spPr/>
    </dgm:pt>
    <dgm:pt modelId="{AE1219BB-D162-401C-9188-2C8835808DA9}" type="pres">
      <dgm:prSet presAssocID="{2DE7EF18-40FD-4EF9-BE3C-F10E530B1176}" presName="Accent" presStyleLbl="node1" presStyleIdx="0" presStyleCnt="4"/>
      <dgm:spPr/>
    </dgm:pt>
    <dgm:pt modelId="{9A8818F7-AABE-4BC8-8E77-799DA3A27AD6}" type="pres">
      <dgm:prSet presAssocID="{2DE7EF18-40FD-4EF9-BE3C-F10E530B1176}" presName="Parent1" presStyleLbl="revTx" presStyleIdx="0" presStyleCnt="4">
        <dgm:presLayoutVars>
          <dgm:chMax val="1"/>
          <dgm:chPref val="1"/>
          <dgm:bulletEnabled val="1"/>
        </dgm:presLayoutVars>
      </dgm:prSet>
      <dgm:spPr/>
      <dgm:t>
        <a:bodyPr/>
        <a:lstStyle/>
        <a:p>
          <a:endParaRPr lang="lt-LT"/>
        </a:p>
      </dgm:t>
    </dgm:pt>
    <dgm:pt modelId="{52D47A1D-57E9-495F-B3BF-A7D950CEC13E}" type="pres">
      <dgm:prSet presAssocID="{07089B23-5E88-495A-8D15-1B8491B4936B}" presName="Accent2" presStyleCnt="0"/>
      <dgm:spPr/>
    </dgm:pt>
    <dgm:pt modelId="{C6F7F47B-78A5-4410-B70A-3E9D0B8A446F}" type="pres">
      <dgm:prSet presAssocID="{07089B23-5E88-495A-8D15-1B8491B4936B}" presName="Accent" presStyleLbl="node1" presStyleIdx="1" presStyleCnt="4"/>
      <dgm:spPr/>
    </dgm:pt>
    <dgm:pt modelId="{2B875191-2E6A-43FC-977D-55D1890B1C23}" type="pres">
      <dgm:prSet presAssocID="{07089B23-5E88-495A-8D15-1B8491B4936B}" presName="Parent2" presStyleLbl="revTx" presStyleIdx="1" presStyleCnt="4">
        <dgm:presLayoutVars>
          <dgm:chMax val="1"/>
          <dgm:chPref val="1"/>
          <dgm:bulletEnabled val="1"/>
        </dgm:presLayoutVars>
      </dgm:prSet>
      <dgm:spPr/>
      <dgm:t>
        <a:bodyPr/>
        <a:lstStyle/>
        <a:p>
          <a:endParaRPr lang="lt-LT"/>
        </a:p>
      </dgm:t>
    </dgm:pt>
    <dgm:pt modelId="{9D910BD6-1862-4BC3-B874-F7CF698D4C12}" type="pres">
      <dgm:prSet presAssocID="{3257A794-7FEE-42CE-BC48-4156EC17DA48}" presName="Accent3" presStyleCnt="0"/>
      <dgm:spPr/>
    </dgm:pt>
    <dgm:pt modelId="{0B669D1B-604A-4E12-8B36-DD94B6932AA6}" type="pres">
      <dgm:prSet presAssocID="{3257A794-7FEE-42CE-BC48-4156EC17DA48}" presName="Accent" presStyleLbl="node1" presStyleIdx="2" presStyleCnt="4"/>
      <dgm:spPr/>
    </dgm:pt>
    <dgm:pt modelId="{3E01EC2C-D572-412C-8D77-979320F11DEA}" type="pres">
      <dgm:prSet presAssocID="{3257A794-7FEE-42CE-BC48-4156EC17DA48}" presName="Parent3" presStyleLbl="revTx" presStyleIdx="2" presStyleCnt="4">
        <dgm:presLayoutVars>
          <dgm:chMax val="1"/>
          <dgm:chPref val="1"/>
          <dgm:bulletEnabled val="1"/>
        </dgm:presLayoutVars>
      </dgm:prSet>
      <dgm:spPr/>
      <dgm:t>
        <a:bodyPr/>
        <a:lstStyle/>
        <a:p>
          <a:endParaRPr lang="lt-LT"/>
        </a:p>
      </dgm:t>
    </dgm:pt>
    <dgm:pt modelId="{9A5888EB-0BE8-4BC6-85F0-2821B1089EFD}" type="pres">
      <dgm:prSet presAssocID="{30D81D54-5030-4B77-98EF-32D8CAB17B18}" presName="Accent4" presStyleCnt="0"/>
      <dgm:spPr/>
    </dgm:pt>
    <dgm:pt modelId="{E1165FA9-8FA4-4B16-AC94-DA21D65B67AB}" type="pres">
      <dgm:prSet presAssocID="{30D81D54-5030-4B77-98EF-32D8CAB17B18}" presName="Accent" presStyleLbl="node1" presStyleIdx="3" presStyleCnt="4"/>
      <dgm:spPr/>
    </dgm:pt>
    <dgm:pt modelId="{17AD8B64-606F-4F6C-B4B9-87E8E11EF5B4}" type="pres">
      <dgm:prSet presAssocID="{30D81D54-5030-4B77-98EF-32D8CAB17B18}" presName="Parent4" presStyleLbl="revTx" presStyleIdx="3" presStyleCnt="4">
        <dgm:presLayoutVars>
          <dgm:chMax val="1"/>
          <dgm:chPref val="1"/>
          <dgm:bulletEnabled val="1"/>
        </dgm:presLayoutVars>
      </dgm:prSet>
      <dgm:spPr/>
      <dgm:t>
        <a:bodyPr/>
        <a:lstStyle/>
        <a:p>
          <a:endParaRPr lang="lt-LT"/>
        </a:p>
      </dgm:t>
    </dgm:pt>
  </dgm:ptLst>
  <dgm:cxnLst>
    <dgm:cxn modelId="{D51A6CB8-92EA-413B-B277-841C4F455E98}" type="presOf" srcId="{30D81D54-5030-4B77-98EF-32D8CAB17B18}" destId="{17AD8B64-606F-4F6C-B4B9-87E8E11EF5B4}" srcOrd="0" destOrd="0" presId="urn:microsoft.com/office/officeart/2009/layout/CircleArrowProcess"/>
    <dgm:cxn modelId="{20C0453E-695A-4BD0-96BC-D041C315867D}" type="presOf" srcId="{3257A794-7FEE-42CE-BC48-4156EC17DA48}" destId="{3E01EC2C-D572-412C-8D77-979320F11DEA}" srcOrd="0" destOrd="0" presId="urn:microsoft.com/office/officeart/2009/layout/CircleArrowProcess"/>
    <dgm:cxn modelId="{3475C532-0013-4C5C-B7E4-768782DDBDD5}" type="presOf" srcId="{2DE7EF18-40FD-4EF9-BE3C-F10E530B1176}" destId="{9A8818F7-AABE-4BC8-8E77-799DA3A27AD6}" srcOrd="0" destOrd="0" presId="urn:microsoft.com/office/officeart/2009/layout/CircleArrowProcess"/>
    <dgm:cxn modelId="{F3257DF9-3219-47A7-8777-2E34380B7B13}" type="presOf" srcId="{07089B23-5E88-495A-8D15-1B8491B4936B}" destId="{2B875191-2E6A-43FC-977D-55D1890B1C23}" srcOrd="0" destOrd="0" presId="urn:microsoft.com/office/officeart/2009/layout/CircleArrowProcess"/>
    <dgm:cxn modelId="{DF66138A-B459-490E-B5EA-D6A04DDC8574}" srcId="{A9D630C0-CF93-4D11-A828-5AAA7E889F17}" destId="{07089B23-5E88-495A-8D15-1B8491B4936B}" srcOrd="1" destOrd="0" parTransId="{6E4C8BAA-51B7-44EA-AA8E-52FDF1D85707}" sibTransId="{9A8A3E0E-CEED-4A96-BDBD-A7D3CC78E964}"/>
    <dgm:cxn modelId="{34860782-3F18-466D-B684-D4BC6A9C04BE}" srcId="{A9D630C0-CF93-4D11-A828-5AAA7E889F17}" destId="{2DE7EF18-40FD-4EF9-BE3C-F10E530B1176}" srcOrd="0" destOrd="0" parTransId="{2C01EFD9-551E-4A9D-A9F7-399A479C35AE}" sibTransId="{0640647B-A58A-48CD-9525-827CA49A35E7}"/>
    <dgm:cxn modelId="{FC9C7DF5-6E4B-4186-A40E-1F9CB5B7ED04}" type="presOf" srcId="{A9D630C0-CF93-4D11-A828-5AAA7E889F17}" destId="{AECB5FEE-9C99-4BB5-85F0-2FE54DDE1468}" srcOrd="0" destOrd="0" presId="urn:microsoft.com/office/officeart/2009/layout/CircleArrowProcess"/>
    <dgm:cxn modelId="{A138F87E-19E9-4170-904E-E5DAC3183431}" srcId="{A9D630C0-CF93-4D11-A828-5AAA7E889F17}" destId="{3257A794-7FEE-42CE-BC48-4156EC17DA48}" srcOrd="2" destOrd="0" parTransId="{4A6A4783-72AF-4BB3-BE68-029D9B99508E}" sibTransId="{5401C1CC-BFF5-4ECB-B307-D901029BC0D2}"/>
    <dgm:cxn modelId="{3D01F25E-A579-4FA0-9064-7426A288475A}" srcId="{A9D630C0-CF93-4D11-A828-5AAA7E889F17}" destId="{30D81D54-5030-4B77-98EF-32D8CAB17B18}" srcOrd="3" destOrd="0" parTransId="{561AE1C3-E548-4DC9-878C-978A12751580}" sibTransId="{7BCA2E79-55F1-42BE-9EBF-145E06F44AD2}"/>
    <dgm:cxn modelId="{D9779B4D-3736-4F2E-B3FC-5744A23E37F9}" type="presParOf" srcId="{AECB5FEE-9C99-4BB5-85F0-2FE54DDE1468}" destId="{B9C241C2-D171-421A-A036-BF0CCCD90A98}" srcOrd="0" destOrd="0" presId="urn:microsoft.com/office/officeart/2009/layout/CircleArrowProcess"/>
    <dgm:cxn modelId="{E982CB4B-F8D3-4F73-BDEC-86EAC238EBC5}" type="presParOf" srcId="{B9C241C2-D171-421A-A036-BF0CCCD90A98}" destId="{AE1219BB-D162-401C-9188-2C8835808DA9}" srcOrd="0" destOrd="0" presId="urn:microsoft.com/office/officeart/2009/layout/CircleArrowProcess"/>
    <dgm:cxn modelId="{283CAAB2-89F4-4DD0-A0B0-AB7F5EB3F6FB}" type="presParOf" srcId="{AECB5FEE-9C99-4BB5-85F0-2FE54DDE1468}" destId="{9A8818F7-AABE-4BC8-8E77-799DA3A27AD6}" srcOrd="1" destOrd="0" presId="urn:microsoft.com/office/officeart/2009/layout/CircleArrowProcess"/>
    <dgm:cxn modelId="{CBFAF410-4D22-41ED-889B-6666DC97CA52}" type="presParOf" srcId="{AECB5FEE-9C99-4BB5-85F0-2FE54DDE1468}" destId="{52D47A1D-57E9-495F-B3BF-A7D950CEC13E}" srcOrd="2" destOrd="0" presId="urn:microsoft.com/office/officeart/2009/layout/CircleArrowProcess"/>
    <dgm:cxn modelId="{9A479A38-AAF4-455D-B2A7-B74EC1FCC319}" type="presParOf" srcId="{52D47A1D-57E9-495F-B3BF-A7D950CEC13E}" destId="{C6F7F47B-78A5-4410-B70A-3E9D0B8A446F}" srcOrd="0" destOrd="0" presId="urn:microsoft.com/office/officeart/2009/layout/CircleArrowProcess"/>
    <dgm:cxn modelId="{C6F0A975-4036-4A14-83A6-435BBC6615D7}" type="presParOf" srcId="{AECB5FEE-9C99-4BB5-85F0-2FE54DDE1468}" destId="{2B875191-2E6A-43FC-977D-55D1890B1C23}" srcOrd="3" destOrd="0" presId="urn:microsoft.com/office/officeart/2009/layout/CircleArrowProcess"/>
    <dgm:cxn modelId="{B7439BC6-0276-4BE9-8E89-BA682898EEA3}" type="presParOf" srcId="{AECB5FEE-9C99-4BB5-85F0-2FE54DDE1468}" destId="{9D910BD6-1862-4BC3-B874-F7CF698D4C12}" srcOrd="4" destOrd="0" presId="urn:microsoft.com/office/officeart/2009/layout/CircleArrowProcess"/>
    <dgm:cxn modelId="{AD6C0525-EDC3-4FB3-AE6B-32C85AF289CA}" type="presParOf" srcId="{9D910BD6-1862-4BC3-B874-F7CF698D4C12}" destId="{0B669D1B-604A-4E12-8B36-DD94B6932AA6}" srcOrd="0" destOrd="0" presId="urn:microsoft.com/office/officeart/2009/layout/CircleArrowProcess"/>
    <dgm:cxn modelId="{454CB2D8-EFB4-461C-87AB-93E4D02A219A}" type="presParOf" srcId="{AECB5FEE-9C99-4BB5-85F0-2FE54DDE1468}" destId="{3E01EC2C-D572-412C-8D77-979320F11DEA}" srcOrd="5" destOrd="0" presId="urn:microsoft.com/office/officeart/2009/layout/CircleArrowProcess"/>
    <dgm:cxn modelId="{91B2CE1C-666F-4A35-9B83-4F7AD5DA62CD}" type="presParOf" srcId="{AECB5FEE-9C99-4BB5-85F0-2FE54DDE1468}" destId="{9A5888EB-0BE8-4BC6-85F0-2821B1089EFD}" srcOrd="6" destOrd="0" presId="urn:microsoft.com/office/officeart/2009/layout/CircleArrowProcess"/>
    <dgm:cxn modelId="{B5C8FA3D-1290-4197-A3DB-6F38428395FE}" type="presParOf" srcId="{9A5888EB-0BE8-4BC6-85F0-2821B1089EFD}" destId="{E1165FA9-8FA4-4B16-AC94-DA21D65B67AB}" srcOrd="0" destOrd="0" presId="urn:microsoft.com/office/officeart/2009/layout/CircleArrowProcess"/>
    <dgm:cxn modelId="{25126FCC-41B4-4730-89BF-73F718D77396}" type="presParOf" srcId="{AECB5FEE-9C99-4BB5-85F0-2FE54DDE1468}" destId="{17AD8B64-606F-4F6C-B4B9-87E8E11EF5B4}" srcOrd="7"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1219BB-D162-401C-9188-2C8835808DA9}">
      <dsp:nvSpPr>
        <dsp:cNvPr id="0" name=""/>
        <dsp:cNvSpPr/>
      </dsp:nvSpPr>
      <dsp:spPr>
        <a:xfrm>
          <a:off x="953971" y="361174"/>
          <a:ext cx="1653860" cy="1654028"/>
        </a:xfrm>
        <a:prstGeom prst="circularArrow">
          <a:avLst>
            <a:gd name="adj1" fmla="val 10980"/>
            <a:gd name="adj2" fmla="val 1142322"/>
            <a:gd name="adj3" fmla="val 4500000"/>
            <a:gd name="adj4" fmla="val 108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A8818F7-AABE-4BC8-8E77-799DA3A27AD6}">
      <dsp:nvSpPr>
        <dsp:cNvPr id="0" name=""/>
        <dsp:cNvSpPr/>
      </dsp:nvSpPr>
      <dsp:spPr>
        <a:xfrm>
          <a:off x="1319117" y="959887"/>
          <a:ext cx="922947" cy="4614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lt-LT" sz="1200" kern="1200"/>
            <a:t>PKT programų rengimas</a:t>
          </a:r>
          <a:endParaRPr lang="en-GB" sz="1200" kern="1200"/>
        </a:p>
      </dsp:txBody>
      <dsp:txXfrm>
        <a:off x="1319117" y="959887"/>
        <a:ext cx="922947" cy="461426"/>
      </dsp:txXfrm>
    </dsp:sp>
    <dsp:sp modelId="{C6F7F47B-78A5-4410-B70A-3E9D0B8A446F}">
      <dsp:nvSpPr>
        <dsp:cNvPr id="0" name=""/>
        <dsp:cNvSpPr/>
      </dsp:nvSpPr>
      <dsp:spPr>
        <a:xfrm>
          <a:off x="494513" y="1311659"/>
          <a:ext cx="1653860" cy="1654028"/>
        </a:xfrm>
        <a:prstGeom prst="leftCircularArrow">
          <a:avLst>
            <a:gd name="adj1" fmla="val 10980"/>
            <a:gd name="adj2" fmla="val 1142322"/>
            <a:gd name="adj3" fmla="val 6300000"/>
            <a:gd name="adj4" fmla="val 189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B875191-2E6A-43FC-977D-55D1890B1C23}">
      <dsp:nvSpPr>
        <dsp:cNvPr id="0" name=""/>
        <dsp:cNvSpPr/>
      </dsp:nvSpPr>
      <dsp:spPr>
        <a:xfrm>
          <a:off x="857798" y="1912127"/>
          <a:ext cx="922947" cy="4614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lt-LT" sz="1200" kern="1200"/>
            <a:t>PKT programų vykdymas</a:t>
          </a:r>
          <a:endParaRPr lang="en-GB" sz="1200" kern="1200"/>
        </a:p>
      </dsp:txBody>
      <dsp:txXfrm>
        <a:off x="857798" y="1912127"/>
        <a:ext cx="922947" cy="461426"/>
      </dsp:txXfrm>
    </dsp:sp>
    <dsp:sp modelId="{0B669D1B-604A-4E12-8B36-DD94B6932AA6}">
      <dsp:nvSpPr>
        <dsp:cNvPr id="0" name=""/>
        <dsp:cNvSpPr/>
      </dsp:nvSpPr>
      <dsp:spPr>
        <a:xfrm>
          <a:off x="953971" y="2265653"/>
          <a:ext cx="1653860" cy="1654028"/>
        </a:xfrm>
        <a:prstGeom prst="circularArrow">
          <a:avLst>
            <a:gd name="adj1" fmla="val 10980"/>
            <a:gd name="adj2" fmla="val 1142322"/>
            <a:gd name="adj3" fmla="val 4500000"/>
            <a:gd name="adj4" fmla="val 13500000"/>
            <a:gd name="adj5" fmla="val 125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01EC2C-D572-412C-8D77-979320F11DEA}">
      <dsp:nvSpPr>
        <dsp:cNvPr id="0" name=""/>
        <dsp:cNvSpPr/>
      </dsp:nvSpPr>
      <dsp:spPr>
        <a:xfrm>
          <a:off x="1319117" y="2864366"/>
          <a:ext cx="922947" cy="4614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lt-LT" sz="1200" kern="1200"/>
            <a:t>PKT programų kokybės užtikrinimas</a:t>
          </a:r>
          <a:endParaRPr lang="en-GB" sz="1200" kern="1200"/>
        </a:p>
      </dsp:txBody>
      <dsp:txXfrm>
        <a:off x="1319117" y="2864366"/>
        <a:ext cx="922947" cy="461426"/>
      </dsp:txXfrm>
    </dsp:sp>
    <dsp:sp modelId="{E1165FA9-8FA4-4B16-AC94-DA21D65B67AB}">
      <dsp:nvSpPr>
        <dsp:cNvPr id="0" name=""/>
        <dsp:cNvSpPr/>
      </dsp:nvSpPr>
      <dsp:spPr>
        <a:xfrm>
          <a:off x="612402" y="3325793"/>
          <a:ext cx="1420874" cy="1421560"/>
        </a:xfrm>
        <a:prstGeom prst="blockArc">
          <a:avLst>
            <a:gd name="adj1" fmla="val 0"/>
            <a:gd name="adj2" fmla="val 18900000"/>
            <a:gd name="adj3" fmla="val 1274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7AD8B64-606F-4F6C-B4B9-87E8E11EF5B4}">
      <dsp:nvSpPr>
        <dsp:cNvPr id="0" name=""/>
        <dsp:cNvSpPr/>
      </dsp:nvSpPr>
      <dsp:spPr>
        <a:xfrm>
          <a:off x="857798" y="3816606"/>
          <a:ext cx="922947" cy="4614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lt-LT" sz="1200" kern="1200"/>
            <a:t>PKT stebėsena</a:t>
          </a:r>
          <a:endParaRPr lang="en-GB" sz="1200" kern="1200"/>
        </a:p>
      </dsp:txBody>
      <dsp:txXfrm>
        <a:off x="857798" y="3816606"/>
        <a:ext cx="922947" cy="461426"/>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Antraštės vietos rezervavimo ženklas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lt-LT"/>
          </a:p>
        </p:txBody>
      </p:sp>
      <p:sp>
        <p:nvSpPr>
          <p:cNvPr id="3" name="Datos vietos rezervavimo ženklas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71F8363-D874-4568-B18C-8FC4F97EFB71}" type="datetimeFigureOut">
              <a:rPr lang="lt-LT" smtClean="0"/>
              <a:t>2022-03-07</a:t>
            </a:fld>
            <a:endParaRPr lang="lt-LT"/>
          </a:p>
        </p:txBody>
      </p:sp>
      <p:sp>
        <p:nvSpPr>
          <p:cNvPr id="4" name="Poraštės vietos rezervavimo ženklas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lt-LT"/>
          </a:p>
        </p:txBody>
      </p:sp>
      <p:sp>
        <p:nvSpPr>
          <p:cNvPr id="5" name="Skaidrės numerio vietos rezervavimo ženklas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4FC48CD-CE1E-4FB7-A372-71B22D9BE7DB}" type="slidenum">
              <a:rPr lang="lt-LT" smtClean="0"/>
              <a:t>‹#›</a:t>
            </a:fld>
            <a:endParaRPr lang="lt-LT"/>
          </a:p>
        </p:txBody>
      </p:sp>
    </p:spTree>
    <p:extLst>
      <p:ext uri="{BB962C8B-B14F-4D97-AF65-F5344CB8AC3E}">
        <p14:creationId xmlns:p14="http://schemas.microsoft.com/office/powerpoint/2010/main" val="13717323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Antraštės vietos rezervavimo ženklas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lt-LT"/>
          </a:p>
        </p:txBody>
      </p:sp>
      <p:sp>
        <p:nvSpPr>
          <p:cNvPr id="3" name="Datos vietos rezervavimo ženklas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46BD794-C187-4C32-A5F2-BECBFA09AD8A}" type="datetimeFigureOut">
              <a:rPr lang="lt-LT" smtClean="0"/>
              <a:pPr/>
              <a:t>2022-03-07</a:t>
            </a:fld>
            <a:endParaRPr lang="lt-LT"/>
          </a:p>
        </p:txBody>
      </p:sp>
      <p:sp>
        <p:nvSpPr>
          <p:cNvPr id="4" name="Skaidrės vaizdo vietos rezervavimo ženkla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lt-LT"/>
          </a:p>
        </p:txBody>
      </p:sp>
      <p:sp>
        <p:nvSpPr>
          <p:cNvPr id="5" name="Pastabų vietos rezervavimo ženkla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lt-LT"/>
              <a:t>Spustelėję redag. ruoš. teksto stilių</a:t>
            </a:r>
          </a:p>
          <a:p>
            <a:pPr lvl="1"/>
            <a:r>
              <a:rPr lang="lt-LT"/>
              <a:t>Antras lygmuo</a:t>
            </a:r>
          </a:p>
          <a:p>
            <a:pPr lvl="2"/>
            <a:r>
              <a:rPr lang="lt-LT"/>
              <a:t>Trečias lygmuo</a:t>
            </a:r>
          </a:p>
          <a:p>
            <a:pPr lvl="3"/>
            <a:r>
              <a:rPr lang="lt-LT"/>
              <a:t>Ketvirtas lygmuo</a:t>
            </a:r>
          </a:p>
          <a:p>
            <a:pPr lvl="4"/>
            <a:r>
              <a:rPr lang="lt-LT"/>
              <a:t>Penktas lygmuo</a:t>
            </a:r>
          </a:p>
        </p:txBody>
      </p:sp>
      <p:sp>
        <p:nvSpPr>
          <p:cNvPr id="6" name="Poraštės vietos rezervavimo ženklas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lt-LT"/>
          </a:p>
        </p:txBody>
      </p:sp>
      <p:sp>
        <p:nvSpPr>
          <p:cNvPr id="7" name="Skaidrės numerio vietos rezervavimo ženklas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FA940D3-27ED-43DE-A10D-DA22944B271E}" type="slidenum">
              <a:rPr lang="lt-LT" smtClean="0"/>
              <a:pPr/>
              <a:t>‹#›</a:t>
            </a:fld>
            <a:endParaRPr lang="lt-LT"/>
          </a:p>
        </p:txBody>
      </p:sp>
    </p:spTree>
    <p:extLst>
      <p:ext uri="{BB962C8B-B14F-4D97-AF65-F5344CB8AC3E}">
        <p14:creationId xmlns:p14="http://schemas.microsoft.com/office/powerpoint/2010/main" val="16425663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a:p>
        </p:txBody>
      </p:sp>
      <p:sp>
        <p:nvSpPr>
          <p:cNvPr id="4" name="Slide Number Placeholder 3"/>
          <p:cNvSpPr>
            <a:spLocks noGrp="1"/>
          </p:cNvSpPr>
          <p:nvPr>
            <p:ph type="sldNum" sz="quarter" idx="5"/>
          </p:nvPr>
        </p:nvSpPr>
        <p:spPr/>
        <p:txBody>
          <a:bodyPr/>
          <a:lstStyle/>
          <a:p>
            <a:fld id="{0FA940D3-27ED-43DE-A10D-DA22944B271E}" type="slidenum">
              <a:rPr lang="lt-LT" smtClean="0"/>
              <a:pPr/>
              <a:t>2</a:t>
            </a:fld>
            <a:endParaRPr lang="lt-LT"/>
          </a:p>
        </p:txBody>
      </p:sp>
    </p:spTree>
    <p:extLst>
      <p:ext uri="{BB962C8B-B14F-4D97-AF65-F5344CB8AC3E}">
        <p14:creationId xmlns:p14="http://schemas.microsoft.com/office/powerpoint/2010/main" val="1330273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14</a:t>
            </a:fld>
            <a:endParaRPr lang="lt-LT"/>
          </a:p>
        </p:txBody>
      </p:sp>
    </p:spTree>
    <p:extLst>
      <p:ext uri="{BB962C8B-B14F-4D97-AF65-F5344CB8AC3E}">
        <p14:creationId xmlns:p14="http://schemas.microsoft.com/office/powerpoint/2010/main" val="42119521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15</a:t>
            </a:fld>
            <a:endParaRPr lang="lt-LT"/>
          </a:p>
        </p:txBody>
      </p:sp>
    </p:spTree>
    <p:extLst>
      <p:ext uri="{BB962C8B-B14F-4D97-AF65-F5344CB8AC3E}">
        <p14:creationId xmlns:p14="http://schemas.microsoft.com/office/powerpoint/2010/main" val="17549431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16</a:t>
            </a:fld>
            <a:endParaRPr lang="lt-LT"/>
          </a:p>
        </p:txBody>
      </p:sp>
    </p:spTree>
    <p:extLst>
      <p:ext uri="{BB962C8B-B14F-4D97-AF65-F5344CB8AC3E}">
        <p14:creationId xmlns:p14="http://schemas.microsoft.com/office/powerpoint/2010/main" val="13983433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17</a:t>
            </a:fld>
            <a:endParaRPr lang="lt-LT"/>
          </a:p>
        </p:txBody>
      </p:sp>
    </p:spTree>
    <p:extLst>
      <p:ext uri="{BB962C8B-B14F-4D97-AF65-F5344CB8AC3E}">
        <p14:creationId xmlns:p14="http://schemas.microsoft.com/office/powerpoint/2010/main" val="36380374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18</a:t>
            </a:fld>
            <a:endParaRPr lang="lt-LT"/>
          </a:p>
        </p:txBody>
      </p:sp>
    </p:spTree>
    <p:extLst>
      <p:ext uri="{BB962C8B-B14F-4D97-AF65-F5344CB8AC3E}">
        <p14:creationId xmlns:p14="http://schemas.microsoft.com/office/powerpoint/2010/main" val="3338834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19</a:t>
            </a:fld>
            <a:endParaRPr lang="lt-LT"/>
          </a:p>
        </p:txBody>
      </p:sp>
    </p:spTree>
    <p:extLst>
      <p:ext uri="{BB962C8B-B14F-4D97-AF65-F5344CB8AC3E}">
        <p14:creationId xmlns:p14="http://schemas.microsoft.com/office/powerpoint/2010/main" val="19124482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t-LT" dirty="0"/>
              <a:t>Tyrimo metu nustatyta, kad aukštosios mokyklos / pedagogų rengimo centrai neturi išskirtinių funkcijų ir atsakomybių PKT sistemoje palyginus su kitais PKT sistemoje veikiančias PKT teikėjais</a:t>
            </a:r>
            <a:endParaRPr lang="en-GB"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23</a:t>
            </a:fld>
            <a:endParaRPr lang="lt-LT"/>
          </a:p>
        </p:txBody>
      </p:sp>
    </p:spTree>
    <p:extLst>
      <p:ext uri="{BB962C8B-B14F-4D97-AF65-F5344CB8AC3E}">
        <p14:creationId xmlns:p14="http://schemas.microsoft.com/office/powerpoint/2010/main" val="19510507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a:p>
            <a:endParaRPr lang="en-US"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25</a:t>
            </a:fld>
            <a:endParaRPr lang="lt-LT"/>
          </a:p>
        </p:txBody>
      </p:sp>
    </p:spTree>
    <p:extLst>
      <p:ext uri="{BB962C8B-B14F-4D97-AF65-F5344CB8AC3E}">
        <p14:creationId xmlns:p14="http://schemas.microsoft.com/office/powerpoint/2010/main" val="39310236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a:p>
            <a:endParaRPr lang="en-US"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26</a:t>
            </a:fld>
            <a:endParaRPr lang="lt-LT"/>
          </a:p>
        </p:txBody>
      </p:sp>
    </p:spTree>
    <p:extLst>
      <p:ext uri="{BB962C8B-B14F-4D97-AF65-F5344CB8AC3E}">
        <p14:creationId xmlns:p14="http://schemas.microsoft.com/office/powerpoint/2010/main" val="7615667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a:p>
            <a:endParaRPr lang="en-US"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27</a:t>
            </a:fld>
            <a:endParaRPr lang="lt-LT"/>
          </a:p>
        </p:txBody>
      </p:sp>
    </p:spTree>
    <p:extLst>
      <p:ext uri="{BB962C8B-B14F-4D97-AF65-F5344CB8AC3E}">
        <p14:creationId xmlns:p14="http://schemas.microsoft.com/office/powerpoint/2010/main" val="3957656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6</a:t>
            </a:fld>
            <a:endParaRPr lang="lt-LT"/>
          </a:p>
        </p:txBody>
      </p:sp>
    </p:spTree>
    <p:extLst>
      <p:ext uri="{BB962C8B-B14F-4D97-AF65-F5344CB8AC3E}">
        <p14:creationId xmlns:p14="http://schemas.microsoft.com/office/powerpoint/2010/main" val="13823292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a:p>
            <a:endParaRPr lang="en-US"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28</a:t>
            </a:fld>
            <a:endParaRPr lang="lt-LT"/>
          </a:p>
        </p:txBody>
      </p:sp>
    </p:spTree>
    <p:extLst>
      <p:ext uri="{BB962C8B-B14F-4D97-AF65-F5344CB8AC3E}">
        <p14:creationId xmlns:p14="http://schemas.microsoft.com/office/powerpoint/2010/main" val="7089035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a:p>
          <a:p>
            <a:endParaRPr lang="en-US"/>
          </a:p>
        </p:txBody>
      </p:sp>
      <p:sp>
        <p:nvSpPr>
          <p:cNvPr id="4" name="Slide Number Placeholder 3"/>
          <p:cNvSpPr>
            <a:spLocks noGrp="1"/>
          </p:cNvSpPr>
          <p:nvPr>
            <p:ph type="sldNum" sz="quarter" idx="5"/>
          </p:nvPr>
        </p:nvSpPr>
        <p:spPr/>
        <p:txBody>
          <a:bodyPr/>
          <a:lstStyle/>
          <a:p>
            <a:fld id="{0FA940D3-27ED-43DE-A10D-DA22944B271E}" type="slidenum">
              <a:rPr lang="lt-LT" smtClean="0"/>
              <a:pPr/>
              <a:t>29</a:t>
            </a:fld>
            <a:endParaRPr lang="lt-LT"/>
          </a:p>
        </p:txBody>
      </p:sp>
    </p:spTree>
    <p:extLst>
      <p:ext uri="{BB962C8B-B14F-4D97-AF65-F5344CB8AC3E}">
        <p14:creationId xmlns:p14="http://schemas.microsoft.com/office/powerpoint/2010/main" val="36901495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7</a:t>
            </a:fld>
            <a:endParaRPr lang="lt-LT"/>
          </a:p>
        </p:txBody>
      </p:sp>
    </p:spTree>
    <p:extLst>
      <p:ext uri="{BB962C8B-B14F-4D97-AF65-F5344CB8AC3E}">
        <p14:creationId xmlns:p14="http://schemas.microsoft.com/office/powerpoint/2010/main" val="1262540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8</a:t>
            </a:fld>
            <a:endParaRPr lang="lt-LT"/>
          </a:p>
        </p:txBody>
      </p:sp>
    </p:spTree>
    <p:extLst>
      <p:ext uri="{BB962C8B-B14F-4D97-AF65-F5344CB8AC3E}">
        <p14:creationId xmlns:p14="http://schemas.microsoft.com/office/powerpoint/2010/main" val="33084203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9</a:t>
            </a:fld>
            <a:endParaRPr lang="lt-LT"/>
          </a:p>
        </p:txBody>
      </p:sp>
    </p:spTree>
    <p:extLst>
      <p:ext uri="{BB962C8B-B14F-4D97-AF65-F5344CB8AC3E}">
        <p14:creationId xmlns:p14="http://schemas.microsoft.com/office/powerpoint/2010/main" val="2410334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10</a:t>
            </a:fld>
            <a:endParaRPr lang="lt-LT"/>
          </a:p>
        </p:txBody>
      </p:sp>
    </p:spTree>
    <p:extLst>
      <p:ext uri="{BB962C8B-B14F-4D97-AF65-F5344CB8AC3E}">
        <p14:creationId xmlns:p14="http://schemas.microsoft.com/office/powerpoint/2010/main" val="15512510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11</a:t>
            </a:fld>
            <a:endParaRPr lang="lt-LT"/>
          </a:p>
        </p:txBody>
      </p:sp>
    </p:spTree>
    <p:extLst>
      <p:ext uri="{BB962C8B-B14F-4D97-AF65-F5344CB8AC3E}">
        <p14:creationId xmlns:p14="http://schemas.microsoft.com/office/powerpoint/2010/main" val="13265553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12</a:t>
            </a:fld>
            <a:endParaRPr lang="lt-LT"/>
          </a:p>
        </p:txBody>
      </p:sp>
    </p:spTree>
    <p:extLst>
      <p:ext uri="{BB962C8B-B14F-4D97-AF65-F5344CB8AC3E}">
        <p14:creationId xmlns:p14="http://schemas.microsoft.com/office/powerpoint/2010/main" val="6281681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lt-LT" sz="1200" dirty="0"/>
          </a:p>
        </p:txBody>
      </p:sp>
      <p:sp>
        <p:nvSpPr>
          <p:cNvPr id="4" name="Slide Number Placeholder 3"/>
          <p:cNvSpPr>
            <a:spLocks noGrp="1"/>
          </p:cNvSpPr>
          <p:nvPr>
            <p:ph type="sldNum" sz="quarter" idx="5"/>
          </p:nvPr>
        </p:nvSpPr>
        <p:spPr/>
        <p:txBody>
          <a:bodyPr/>
          <a:lstStyle/>
          <a:p>
            <a:fld id="{0FA940D3-27ED-43DE-A10D-DA22944B271E}" type="slidenum">
              <a:rPr lang="lt-LT" smtClean="0"/>
              <a:pPr/>
              <a:t>13</a:t>
            </a:fld>
            <a:endParaRPr lang="lt-LT"/>
          </a:p>
        </p:txBody>
      </p:sp>
    </p:spTree>
    <p:extLst>
      <p:ext uri="{BB962C8B-B14F-4D97-AF65-F5344CB8AC3E}">
        <p14:creationId xmlns:p14="http://schemas.microsoft.com/office/powerpoint/2010/main" val="16628803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C Tilte Cover 1">
    <p:spTree>
      <p:nvGrpSpPr>
        <p:cNvPr id="1" name=""/>
        <p:cNvGrpSpPr/>
        <p:nvPr/>
      </p:nvGrpSpPr>
      <p:grpSpPr>
        <a:xfrm>
          <a:off x="0" y="0"/>
          <a:ext cx="0" cy="0"/>
          <a:chOff x="0" y="0"/>
          <a:chExt cx="0" cy="0"/>
        </a:xfrm>
      </p:grpSpPr>
      <p:sp>
        <p:nvSpPr>
          <p:cNvPr id="2" name="Antraštė 1"/>
          <p:cNvSpPr>
            <a:spLocks noGrp="1"/>
          </p:cNvSpPr>
          <p:nvPr>
            <p:ph type="ctrTitle" hasCustomPrompt="1"/>
          </p:nvPr>
        </p:nvSpPr>
        <p:spPr>
          <a:xfrm>
            <a:off x="623692" y="2092847"/>
            <a:ext cx="7772400" cy="472057"/>
          </a:xfrm>
          <a:prstGeom prst="rect">
            <a:avLst/>
          </a:prstGeom>
        </p:spPr>
        <p:txBody>
          <a:bodyPr lIns="0" anchor="t">
            <a:normAutofit/>
          </a:bodyPr>
          <a:lstStyle>
            <a:lvl1pPr marL="0" marR="0" indent="0" algn="l" defTabSz="914400" rtl="0" eaLnBrk="1" fontAlgn="auto" latinLnBrk="0" hangingPunct="1">
              <a:lnSpc>
                <a:spcPct val="100000"/>
              </a:lnSpc>
              <a:spcBef>
                <a:spcPct val="0"/>
              </a:spcBef>
              <a:spcAft>
                <a:spcPts val="0"/>
              </a:spcAft>
              <a:tabLst/>
              <a:defRPr sz="2800" baseline="0">
                <a:latin typeface="Cambria" panose="02040503050406030204" pitchFamily="18" charset="0"/>
              </a:defRPr>
            </a:lvl1pPr>
          </a:lstStyle>
          <a:p>
            <a:pPr marL="0" marR="0" lvl="0" indent="0" defTabSz="914400" rtl="0" eaLnBrk="1" fontAlgn="auto" latinLnBrk="0" hangingPunct="1">
              <a:lnSpc>
                <a:spcPct val="100000"/>
              </a:lnSpc>
              <a:spcBef>
                <a:spcPct val="0"/>
              </a:spcBef>
              <a:spcAft>
                <a:spcPts val="0"/>
              </a:spcAft>
              <a:tabLst/>
              <a:defRPr/>
            </a:pPr>
            <a:r>
              <a:rPr lang="en-GB"/>
              <a:t>Slide Title</a:t>
            </a:r>
            <a:endParaRPr lang="lt-LT"/>
          </a:p>
        </p:txBody>
      </p:sp>
      <p:sp>
        <p:nvSpPr>
          <p:cNvPr id="3" name="Antrinis pavadinimas 2"/>
          <p:cNvSpPr>
            <a:spLocks noGrp="1"/>
          </p:cNvSpPr>
          <p:nvPr>
            <p:ph type="subTitle" idx="1" hasCustomPrompt="1"/>
          </p:nvPr>
        </p:nvSpPr>
        <p:spPr>
          <a:xfrm>
            <a:off x="611560" y="3212976"/>
            <a:ext cx="6400800" cy="1296144"/>
          </a:xfrm>
          <a:prstGeom prst="rect">
            <a:avLst/>
          </a:prstGeom>
        </p:spPr>
        <p:txBody>
          <a:bodyPr lIns="0">
            <a:normAutofit/>
          </a:bodyPr>
          <a:lstStyle>
            <a:lvl1pPr marL="0" indent="0" algn="l">
              <a:buNone/>
              <a:defRPr sz="16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SC Cover Page Subtitle</a:t>
            </a:r>
          </a:p>
          <a:p>
            <a:endParaRPr lang="en-GB"/>
          </a:p>
          <a:p>
            <a:endParaRPr lang="en-GB"/>
          </a:p>
          <a:p>
            <a:r>
              <a:rPr lang="en-GB"/>
              <a:t>Date</a:t>
            </a:r>
          </a:p>
        </p:txBody>
      </p:sp>
      <p:sp>
        <p:nvSpPr>
          <p:cNvPr id="11" name="Stačiakampis 10"/>
          <p:cNvSpPr/>
          <p:nvPr userDrawn="1"/>
        </p:nvSpPr>
        <p:spPr>
          <a:xfrm>
            <a:off x="0" y="6597384"/>
            <a:ext cx="9144000" cy="288000"/>
          </a:xfrm>
          <a:prstGeom prst="rect">
            <a:avLst/>
          </a:prstGeom>
          <a:gradFill>
            <a:gsLst>
              <a:gs pos="0">
                <a:srgbClr val="00012A"/>
              </a:gs>
              <a:gs pos="100000">
                <a:srgbClr val="00547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18" name="Struktūrinė schema: neautomatinis įvedimas 17"/>
          <p:cNvSpPr/>
          <p:nvPr userDrawn="1"/>
        </p:nvSpPr>
        <p:spPr>
          <a:xfrm rot="10800000">
            <a:off x="611560" y="-17656"/>
            <a:ext cx="2340000" cy="1332000"/>
          </a:xfrm>
          <a:prstGeom prst="flowChartManualInput">
            <a:avLst/>
          </a:prstGeom>
          <a:gradFill>
            <a:gsLst>
              <a:gs pos="0">
                <a:srgbClr val="00012A"/>
              </a:gs>
              <a:gs pos="100000">
                <a:srgbClr val="00547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4967" y="382996"/>
            <a:ext cx="1590117" cy="288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Paveikslėlio vietos rezervavimo ženklas 25"/>
          <p:cNvSpPr>
            <a:spLocks noGrp="1"/>
          </p:cNvSpPr>
          <p:nvPr>
            <p:ph type="pic" sz="quarter" idx="12" hasCustomPrompt="1"/>
          </p:nvPr>
        </p:nvSpPr>
        <p:spPr>
          <a:xfrm>
            <a:off x="5867871" y="5229200"/>
            <a:ext cx="1368425" cy="1079500"/>
          </a:xfrm>
          <a:prstGeom prst="rect">
            <a:avLst/>
          </a:prstGeom>
        </p:spPr>
        <p:txBody>
          <a:bodyPr anchor="ctr"/>
          <a:lstStyle>
            <a:lvl1pPr marL="0" indent="0" algn="ctr">
              <a:buFontTx/>
              <a:buNone/>
              <a:defRPr sz="1600">
                <a:solidFill>
                  <a:srgbClr val="FF0000"/>
                </a:solidFill>
              </a:defRPr>
            </a:lvl1pPr>
          </a:lstStyle>
          <a:p>
            <a:r>
              <a:rPr lang="en-GB"/>
              <a:t>Client/Partner logo</a:t>
            </a:r>
            <a:endParaRPr lang="lt-LT"/>
          </a:p>
        </p:txBody>
      </p:sp>
      <p:sp>
        <p:nvSpPr>
          <p:cNvPr id="28" name="Paveikslėlio vietos rezervavimo ženklas 27"/>
          <p:cNvSpPr>
            <a:spLocks noGrp="1"/>
          </p:cNvSpPr>
          <p:nvPr>
            <p:ph type="pic" sz="quarter" idx="13" hasCustomPrompt="1"/>
          </p:nvPr>
        </p:nvSpPr>
        <p:spPr>
          <a:xfrm>
            <a:off x="7524750" y="5229225"/>
            <a:ext cx="1295400" cy="1079500"/>
          </a:xfrm>
          <a:prstGeom prst="rect">
            <a:avLst/>
          </a:prstGeom>
        </p:spPr>
        <p:txBody>
          <a:bodyPr anchor="ctr"/>
          <a:lstStyle>
            <a:lvl1pPr marL="0" indent="0" algn="ctr" defTabSz="914400" rtl="0" eaLnBrk="1" latinLnBrk="0" hangingPunct="1">
              <a:spcBef>
                <a:spcPct val="20000"/>
              </a:spcBef>
              <a:buFontTx/>
              <a:buNone/>
              <a:defRPr lang="lt-LT" sz="1600" kern="1200" baseline="0" dirty="0">
                <a:solidFill>
                  <a:srgbClr val="FF0000"/>
                </a:solidFill>
                <a:latin typeface="+mn-lt"/>
                <a:ea typeface="+mn-ea"/>
                <a:cs typeface="+mn-cs"/>
              </a:defRPr>
            </a:lvl1pPr>
          </a:lstStyle>
          <a:p>
            <a:r>
              <a:rPr lang="en-GB"/>
              <a:t>Client/partner logo</a:t>
            </a:r>
            <a:endParaRPr lang="lt-LT"/>
          </a:p>
        </p:txBody>
      </p:sp>
    </p:spTree>
    <p:extLst>
      <p:ext uri="{BB962C8B-B14F-4D97-AF65-F5344CB8AC3E}">
        <p14:creationId xmlns:p14="http://schemas.microsoft.com/office/powerpoint/2010/main" val="12287231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SC working sllide">
    <p:spTree>
      <p:nvGrpSpPr>
        <p:cNvPr id="1" name=""/>
        <p:cNvGrpSpPr/>
        <p:nvPr/>
      </p:nvGrpSpPr>
      <p:grpSpPr>
        <a:xfrm>
          <a:off x="0" y="0"/>
          <a:ext cx="0" cy="0"/>
          <a:chOff x="0" y="0"/>
          <a:chExt cx="0" cy="0"/>
        </a:xfrm>
      </p:grpSpPr>
      <p:sp>
        <p:nvSpPr>
          <p:cNvPr id="8" name="Title 1"/>
          <p:cNvSpPr>
            <a:spLocks noGrp="1"/>
          </p:cNvSpPr>
          <p:nvPr>
            <p:ph type="title"/>
            <p:custDataLst>
              <p:tags r:id="rId1"/>
            </p:custDataLst>
          </p:nvPr>
        </p:nvSpPr>
        <p:spPr>
          <a:xfrm>
            <a:off x="395536" y="410596"/>
            <a:ext cx="8353177" cy="497454"/>
          </a:xfrm>
          <a:prstGeom prst="rect">
            <a:avLst/>
          </a:prstGeom>
        </p:spPr>
        <p:txBody>
          <a:bodyPr lIns="0">
            <a:normAutofit/>
          </a:bodyPr>
          <a:lstStyle>
            <a:lvl1pPr algn="l">
              <a:defRPr sz="1400" b="0">
                <a:solidFill>
                  <a:schemeClr val="tx1"/>
                </a:solidFill>
                <a:latin typeface="Cambria" panose="02040503050406030204" pitchFamily="18" charset="0"/>
              </a:defRPr>
            </a:lvl1pPr>
          </a:lstStyle>
          <a:p>
            <a:r>
              <a:rPr lang="en-US"/>
              <a:t>Click to edit Master title style</a:t>
            </a:r>
          </a:p>
        </p:txBody>
      </p:sp>
      <p:sp>
        <p:nvSpPr>
          <p:cNvPr id="9" name="Content Placeholder 2"/>
          <p:cNvSpPr>
            <a:spLocks noGrp="1"/>
          </p:cNvSpPr>
          <p:nvPr>
            <p:ph idx="1"/>
            <p:custDataLst>
              <p:tags r:id="rId2"/>
            </p:custDataLst>
          </p:nvPr>
        </p:nvSpPr>
        <p:spPr>
          <a:xfrm>
            <a:off x="395536" y="1052513"/>
            <a:ext cx="8353177" cy="5184775"/>
          </a:xfrm>
          <a:prstGeom prst="rect">
            <a:avLst/>
          </a:prstGeom>
        </p:spPr>
        <p:txBody>
          <a:bodyPr>
            <a:normAutofit/>
          </a:bodyPr>
          <a:lstStyle>
            <a:lvl1pPr marL="226800" indent="-226800">
              <a:buClr>
                <a:srgbClr val="808080"/>
              </a:buClr>
              <a:buFont typeface="Arial" panose="020B0604020202020204" pitchFamily="34" charset="0"/>
              <a:buChar char="•"/>
              <a:defRPr sz="1600">
                <a:latin typeface="+mn-lt"/>
              </a:defRPr>
            </a:lvl1pPr>
            <a:lvl2pPr marL="453600" indent="-226800">
              <a:buClr>
                <a:srgbClr val="808080"/>
              </a:buClr>
              <a:buFont typeface="Arial" pitchFamily="34" charset="0"/>
              <a:buChar char="•"/>
              <a:defRPr sz="1600">
                <a:latin typeface="+mn-lt"/>
              </a:defRPr>
            </a:lvl2pPr>
            <a:lvl3pPr marL="680400" indent="-226800">
              <a:buClr>
                <a:srgbClr val="808080"/>
              </a:buClr>
              <a:buFont typeface="Arial" panose="020B0604020202020204" pitchFamily="34" charset="0"/>
              <a:buChar char="•"/>
              <a:defRPr sz="1600">
                <a:latin typeface="+mn-lt"/>
              </a:defRPr>
            </a:lvl3pPr>
          </a:lstStyle>
          <a:p>
            <a:pPr lvl="0"/>
            <a:r>
              <a:rPr lang="en-US"/>
              <a:t>Click to edit Master text styles</a:t>
            </a:r>
          </a:p>
          <a:p>
            <a:pPr lvl="1"/>
            <a:r>
              <a:rPr lang="en-US"/>
              <a:t>Second level</a:t>
            </a:r>
          </a:p>
          <a:p>
            <a:pPr lvl="2"/>
            <a:r>
              <a:rPr lang="en-US"/>
              <a:t>Third level</a:t>
            </a:r>
          </a:p>
        </p:txBody>
      </p:sp>
      <p:sp>
        <p:nvSpPr>
          <p:cNvPr id="12" name="Slide Number Placeholder 5"/>
          <p:cNvSpPr txBox="1">
            <a:spLocks/>
          </p:cNvSpPr>
          <p:nvPr userDrawn="1">
            <p:custDataLst>
              <p:tags r:id="rId3"/>
            </p:custDataLst>
          </p:nvPr>
        </p:nvSpPr>
        <p:spPr>
          <a:xfrm>
            <a:off x="8711411" y="116632"/>
            <a:ext cx="383141"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z="1000" smtClean="0">
                <a:solidFill>
                  <a:prstClr val="black">
                    <a:tint val="75000"/>
                  </a:prstClr>
                </a:solidFill>
              </a:rPr>
              <a:pPr/>
              <a:t>‹#›</a:t>
            </a:fld>
            <a:endParaRPr lang="en-US">
              <a:solidFill>
                <a:prstClr val="black">
                  <a:tint val="75000"/>
                </a:prstClr>
              </a:solidFill>
            </a:endParaRPr>
          </a:p>
        </p:txBody>
      </p:sp>
      <p:pic>
        <p:nvPicPr>
          <p:cNvPr id="1026"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510938" y="6431874"/>
            <a:ext cx="1396881"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AutoShape 2" descr="Nacionalinė švietimo agentūra -">
            <a:extLst>
              <a:ext uri="{FF2B5EF4-FFF2-40B4-BE49-F238E27FC236}">
                <a16:creationId xmlns:a16="http://schemas.microsoft.com/office/drawing/2014/main" id="{D2D9BE3F-7F41-44B0-92CA-8330704969DC}"/>
              </a:ext>
            </a:extLst>
          </p:cNvPr>
          <p:cNvSpPr>
            <a:spLocks noChangeAspect="1" noChangeArrowheads="1"/>
          </p:cNvSpPr>
          <p:nvPr userDrawn="1"/>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lt-LT"/>
          </a:p>
        </p:txBody>
      </p:sp>
    </p:spTree>
    <p:extLst>
      <p:ext uri="{BB962C8B-B14F-4D97-AF65-F5344CB8AC3E}">
        <p14:creationId xmlns:p14="http://schemas.microsoft.com/office/powerpoint/2010/main" val="4165149092"/>
      </p:ext>
    </p:extLst>
  </p:cSld>
  <p:clrMapOvr>
    <a:masterClrMapping/>
  </p:clrMapOvr>
  <p:extLst>
    <p:ext uri="{DCECCB84-F9BA-43D5-87BE-67443E8EF086}">
      <p15:sldGuideLst xmlns:p15="http://schemas.microsoft.com/office/powerpoint/2012/main">
        <p15:guide id="1" orient="horz" pos="572" userDrawn="1">
          <p15:clr>
            <a:srgbClr val="A4A3A4"/>
          </p15:clr>
        </p15:guide>
        <p15:guide id="2" pos="249" userDrawn="1">
          <p15:clr>
            <a:srgbClr val="A4A3A4"/>
          </p15:clr>
        </p15:guide>
        <p15:guide id="3" pos="5511" userDrawn="1">
          <p15:clr>
            <a:srgbClr val="A4A3A4"/>
          </p15:clr>
        </p15:guide>
        <p15:guide id="4" orient="horz" pos="663" userDrawn="1">
          <p15:clr>
            <a:srgbClr val="A4A3A4"/>
          </p15:clr>
        </p15:guide>
        <p15:guide id="5" orient="horz" pos="3929"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1_SC working sllide">
    <p:spTree>
      <p:nvGrpSpPr>
        <p:cNvPr id="1" name=""/>
        <p:cNvGrpSpPr/>
        <p:nvPr/>
      </p:nvGrpSpPr>
      <p:grpSpPr>
        <a:xfrm>
          <a:off x="0" y="0"/>
          <a:ext cx="0" cy="0"/>
          <a:chOff x="0" y="0"/>
          <a:chExt cx="0" cy="0"/>
        </a:xfrm>
      </p:grpSpPr>
      <p:sp>
        <p:nvSpPr>
          <p:cNvPr id="8" name="Title 1"/>
          <p:cNvSpPr>
            <a:spLocks noGrp="1"/>
          </p:cNvSpPr>
          <p:nvPr>
            <p:ph type="title"/>
            <p:custDataLst>
              <p:tags r:id="rId1"/>
            </p:custDataLst>
          </p:nvPr>
        </p:nvSpPr>
        <p:spPr>
          <a:xfrm>
            <a:off x="395536" y="410597"/>
            <a:ext cx="8315875" cy="487362"/>
          </a:xfrm>
          <a:prstGeom prst="rect">
            <a:avLst/>
          </a:prstGeom>
        </p:spPr>
        <p:txBody>
          <a:bodyPr lIns="0">
            <a:normAutofit/>
          </a:bodyPr>
          <a:lstStyle>
            <a:lvl1pPr algn="l">
              <a:defRPr sz="1800" b="0">
                <a:solidFill>
                  <a:schemeClr val="tx1"/>
                </a:solidFill>
                <a:latin typeface="Cambria" panose="02040503050406030204" pitchFamily="18" charset="0"/>
              </a:defRPr>
            </a:lvl1pPr>
          </a:lstStyle>
          <a:p>
            <a:r>
              <a:rPr lang="en-US"/>
              <a:t>Click to edit Master title style</a:t>
            </a:r>
          </a:p>
        </p:txBody>
      </p:sp>
      <p:sp>
        <p:nvSpPr>
          <p:cNvPr id="9" name="Content Placeholder 2"/>
          <p:cNvSpPr>
            <a:spLocks noGrp="1"/>
          </p:cNvSpPr>
          <p:nvPr>
            <p:ph idx="1"/>
            <p:custDataLst>
              <p:tags r:id="rId2"/>
            </p:custDataLst>
          </p:nvPr>
        </p:nvSpPr>
        <p:spPr>
          <a:xfrm>
            <a:off x="395536" y="1184052"/>
            <a:ext cx="8315875" cy="5053259"/>
          </a:xfrm>
          <a:prstGeom prst="rect">
            <a:avLst/>
          </a:prstGeom>
        </p:spPr>
        <p:txBody>
          <a:bodyPr>
            <a:normAutofit/>
          </a:bodyPr>
          <a:lstStyle>
            <a:lvl1pPr marL="342900" indent="-342900">
              <a:buClr>
                <a:srgbClr val="808080"/>
              </a:buClr>
              <a:buFont typeface="Arial" panose="020B0604020202020204" pitchFamily="34" charset="0"/>
              <a:buChar char="•"/>
              <a:defRPr sz="1600">
                <a:latin typeface="+mn-lt"/>
              </a:defRPr>
            </a:lvl1pPr>
            <a:lvl2pPr marL="742950" indent="-285750">
              <a:buClr>
                <a:srgbClr val="808080"/>
              </a:buClr>
              <a:buFont typeface="Arial" pitchFamily="34" charset="0"/>
              <a:buChar char="•"/>
              <a:defRPr sz="1600">
                <a:latin typeface="+mn-lt"/>
              </a:defRPr>
            </a:lvl2pPr>
            <a:lvl3pPr marL="1143000" indent="-228600">
              <a:buClr>
                <a:srgbClr val="808080"/>
              </a:buClr>
              <a:buFont typeface="Arial" panose="020B0604020202020204" pitchFamily="34" charset="0"/>
              <a:buChar char="•"/>
              <a:defRPr sz="1600">
                <a:latin typeface="+mn-lt"/>
              </a:defRPr>
            </a:lvl3pPr>
          </a:lstStyle>
          <a:p>
            <a:pPr lvl="0"/>
            <a:r>
              <a:rPr lang="en-US"/>
              <a:t>Click to edit Master text styles</a:t>
            </a:r>
          </a:p>
          <a:p>
            <a:pPr lvl="1"/>
            <a:r>
              <a:rPr lang="en-US"/>
              <a:t>Second level</a:t>
            </a:r>
          </a:p>
          <a:p>
            <a:pPr lvl="2"/>
            <a:r>
              <a:rPr lang="en-US"/>
              <a:t>Third level</a:t>
            </a:r>
          </a:p>
        </p:txBody>
      </p:sp>
      <p:sp>
        <p:nvSpPr>
          <p:cNvPr id="12" name="Slide Number Placeholder 5"/>
          <p:cNvSpPr txBox="1">
            <a:spLocks/>
          </p:cNvSpPr>
          <p:nvPr userDrawn="1">
            <p:custDataLst>
              <p:tags r:id="rId3"/>
            </p:custDataLst>
          </p:nvPr>
        </p:nvSpPr>
        <p:spPr>
          <a:xfrm>
            <a:off x="8711411" y="116632"/>
            <a:ext cx="383141"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A6033C-E647-4F8A-A357-27286DEAD83A}" type="slidenum">
              <a:rPr lang="en-US" smtClean="0">
                <a:solidFill>
                  <a:prstClr val="black">
                    <a:tint val="75000"/>
                  </a:prstClr>
                </a:solidFill>
              </a:rPr>
              <a:pPr/>
              <a:t>‹#›</a:t>
            </a:fld>
            <a:endParaRPr lang="en-US">
              <a:solidFill>
                <a:prstClr val="black">
                  <a:tint val="75000"/>
                </a:prstClr>
              </a:solidFill>
            </a:endParaRPr>
          </a:p>
        </p:txBody>
      </p:sp>
      <p:sp>
        <p:nvSpPr>
          <p:cNvPr id="17" name="Paveikslėlio vietos rezervavimo ženklas 16"/>
          <p:cNvSpPr>
            <a:spLocks noGrp="1"/>
          </p:cNvSpPr>
          <p:nvPr>
            <p:ph type="pic" sz="quarter" idx="12" hasCustomPrompt="1"/>
          </p:nvPr>
        </p:nvSpPr>
        <p:spPr>
          <a:xfrm>
            <a:off x="251521" y="6416675"/>
            <a:ext cx="2088232" cy="305130"/>
          </a:xfrm>
          <a:prstGeom prst="rect">
            <a:avLst/>
          </a:prstGeom>
        </p:spPr>
        <p:txBody>
          <a:bodyPr/>
          <a:lstStyle>
            <a:lvl1pPr marL="0" indent="0" algn="ctr">
              <a:buNone/>
              <a:defRPr sz="1600" baseline="0">
                <a:solidFill>
                  <a:srgbClr val="FF0000"/>
                </a:solidFill>
              </a:defRPr>
            </a:lvl1pPr>
          </a:lstStyle>
          <a:p>
            <a:r>
              <a:rPr lang="en-GB"/>
              <a:t>Client / Partner logo</a:t>
            </a:r>
            <a:endParaRPr lang="lt-LT"/>
          </a:p>
        </p:txBody>
      </p:sp>
      <p:sp>
        <p:nvSpPr>
          <p:cNvPr id="19" name="Paveikslėlio vietos rezervavimo ženklas 18"/>
          <p:cNvSpPr>
            <a:spLocks noGrp="1"/>
          </p:cNvSpPr>
          <p:nvPr>
            <p:ph type="pic" sz="quarter" idx="13" hasCustomPrompt="1"/>
          </p:nvPr>
        </p:nvSpPr>
        <p:spPr>
          <a:xfrm>
            <a:off x="2555875" y="6416675"/>
            <a:ext cx="2016125" cy="305130"/>
          </a:xfrm>
          <a:prstGeom prst="rect">
            <a:avLst/>
          </a:prstGeom>
        </p:spPr>
        <p:txBody>
          <a:bodyPr/>
          <a:lstStyle>
            <a:lvl1pPr marL="0" indent="0" algn="ctr">
              <a:buNone/>
              <a:defRPr sz="1600">
                <a:solidFill>
                  <a:srgbClr val="FF0000"/>
                </a:solidFill>
              </a:defRPr>
            </a:lvl1pPr>
          </a:lstStyle>
          <a:p>
            <a:r>
              <a:rPr lang="en-GB"/>
              <a:t>Client / Partner logo</a:t>
            </a:r>
            <a:endParaRPr lang="lt-LT"/>
          </a:p>
        </p:txBody>
      </p:sp>
      <p:pic>
        <p:nvPicPr>
          <p:cNvPr id="1026"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510938" y="6431874"/>
            <a:ext cx="1396881"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9045379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os vietos rezervavimo ženklas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lt-LT"/>
          </a:p>
        </p:txBody>
      </p:sp>
      <p:sp>
        <p:nvSpPr>
          <p:cNvPr id="6" name="Skaidrės numerio vietos rezervavimo ženklas 5"/>
          <p:cNvSpPr>
            <a:spLocks noGrp="1"/>
          </p:cNvSpPr>
          <p:nvPr>
            <p:ph type="sldNum" sz="quarter" idx="4"/>
          </p:nvPr>
        </p:nvSpPr>
        <p:spPr>
          <a:xfrm>
            <a:off x="6606488" y="6294533"/>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1CF691-50E5-4B25-A443-15EFD4713A12}" type="slidenum">
              <a:rPr lang="lt-LT" smtClean="0"/>
              <a:pPr/>
              <a:t>‹#›</a:t>
            </a:fld>
            <a:endParaRPr lang="lt-LT"/>
          </a:p>
        </p:txBody>
      </p:sp>
    </p:spTree>
    <p:extLst>
      <p:ext uri="{BB962C8B-B14F-4D97-AF65-F5344CB8AC3E}">
        <p14:creationId xmlns:p14="http://schemas.microsoft.com/office/powerpoint/2010/main" val="415678967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lt-L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7.svg"/><Relationship Id="rId5" Type="http://schemas.openxmlformats.org/officeDocument/2006/relationships/image" Target="../media/image11.png"/><Relationship Id="rId10" Type="http://schemas.openxmlformats.org/officeDocument/2006/relationships/image" Target="../media/image20.svg"/><Relationship Id="rId4" Type="http://schemas.openxmlformats.org/officeDocument/2006/relationships/image" Target="../media/image15.svg"/><Relationship Id="rId9" Type="http://schemas.openxmlformats.org/officeDocument/2006/relationships/image" Target="../media/image13.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9.svg"/><Relationship Id="rId5" Type="http://schemas.openxmlformats.org/officeDocument/2006/relationships/image" Target="../media/image7.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611560" y="1772816"/>
            <a:ext cx="7772400" cy="472057"/>
          </a:xfrm>
        </p:spPr>
        <p:txBody>
          <a:bodyPr>
            <a:normAutofit fontScale="90000"/>
          </a:bodyPr>
          <a:lstStyle/>
          <a:p>
            <a:pPr algn="just"/>
            <a:r>
              <a:rPr lang="lt-LT" dirty="0"/>
              <a:t>Aukštųjų mokyklų, vykdančių pedagogų rengimo programas, galimybių ir vaidmens užtikrinant pedagogų kvalifikacijos tobulinimo kokybę tyrimo paslaugos</a:t>
            </a:r>
            <a:endParaRPr lang="en-GB" dirty="0"/>
          </a:p>
        </p:txBody>
      </p:sp>
      <p:sp>
        <p:nvSpPr>
          <p:cNvPr id="4" name="Subtitle 3"/>
          <p:cNvSpPr>
            <a:spLocks noGrp="1"/>
          </p:cNvSpPr>
          <p:nvPr>
            <p:ph type="subTitle" idx="1"/>
          </p:nvPr>
        </p:nvSpPr>
        <p:spPr>
          <a:xfrm>
            <a:off x="693560" y="3933081"/>
            <a:ext cx="6388668" cy="1296144"/>
          </a:xfrm>
        </p:spPr>
        <p:txBody>
          <a:bodyPr lIns="0" tIns="45720" rIns="91440" bIns="45720" anchor="t">
            <a:normAutofit/>
          </a:bodyPr>
          <a:lstStyle/>
          <a:p>
            <a:r>
              <a:rPr lang="lt-LT" dirty="0"/>
              <a:t>Tyrimo rezultatų pristatymas</a:t>
            </a:r>
            <a:endParaRPr lang="en-US" dirty="0"/>
          </a:p>
          <a:p>
            <a:r>
              <a:rPr lang="lt-LT" dirty="0"/>
              <a:t>2022 m. vasario </a:t>
            </a:r>
            <a:r>
              <a:rPr lang="en-GB" dirty="0"/>
              <a:t>18</a:t>
            </a:r>
            <a:r>
              <a:rPr lang="lt-LT" dirty="0"/>
              <a:t> d. </a:t>
            </a:r>
            <a:endParaRPr lang="en-GB" dirty="0"/>
          </a:p>
        </p:txBody>
      </p:sp>
      <p:pic>
        <p:nvPicPr>
          <p:cNvPr id="12" name="Picture 11" descr="Nacionalinė švietimo agentūra -">
            <a:extLst>
              <a:ext uri="{FF2B5EF4-FFF2-40B4-BE49-F238E27FC236}">
                <a16:creationId xmlns:a16="http://schemas.microsoft.com/office/drawing/2014/main" id="{6F945249-6785-49DD-B994-54297FD2D264}"/>
              </a:ext>
            </a:extLst>
          </p:cNvPr>
          <p:cNvPicPr/>
          <p:nvPr/>
        </p:nvPicPr>
        <p:blipFill rotWithShape="1">
          <a:blip r:embed="rId2" cstate="print">
            <a:extLst>
              <a:ext uri="{28A0092B-C50C-407E-A947-70E740481C1C}">
                <a14:useLocalDpi xmlns:a14="http://schemas.microsoft.com/office/drawing/2010/main" val="0"/>
              </a:ext>
            </a:extLst>
          </a:blip>
          <a:srcRect t="25829" b="26847"/>
          <a:stretch/>
        </p:blipFill>
        <p:spPr bwMode="auto">
          <a:xfrm>
            <a:off x="3620967" y="5416358"/>
            <a:ext cx="2164080" cy="768097"/>
          </a:xfrm>
          <a:prstGeom prst="rect">
            <a:avLst/>
          </a:prstGeom>
          <a:noFill/>
        </p:spPr>
      </p:pic>
      <p:pic>
        <p:nvPicPr>
          <p:cNvPr id="10" name="Paveikslėlis 6">
            <a:extLst>
              <a:ext uri="{FF2B5EF4-FFF2-40B4-BE49-F238E27FC236}">
                <a16:creationId xmlns:a16="http://schemas.microsoft.com/office/drawing/2014/main" id="{CD0E40F8-DB58-4788-BD25-DFB22431AFA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582" b="23397"/>
          <a:stretch/>
        </p:blipFill>
        <p:spPr>
          <a:xfrm>
            <a:off x="611560" y="5268483"/>
            <a:ext cx="2355546" cy="982695"/>
          </a:xfrm>
          <a:prstGeom prst="rect">
            <a:avLst/>
          </a:prstGeom>
        </p:spPr>
      </p:pic>
      <p:pic>
        <p:nvPicPr>
          <p:cNvPr id="11" name="Picture 10" descr="Shape, arrow&#10;&#10;Description automatically generated">
            <a:extLst>
              <a:ext uri="{FF2B5EF4-FFF2-40B4-BE49-F238E27FC236}">
                <a16:creationId xmlns:a16="http://schemas.microsoft.com/office/drawing/2014/main" id="{9636F4AE-2D74-443F-ADE0-877FACA49E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35746" y="5171823"/>
            <a:ext cx="2641910" cy="1321514"/>
          </a:xfrm>
          <a:prstGeom prst="rect">
            <a:avLst/>
          </a:prstGeom>
        </p:spPr>
      </p:pic>
    </p:spTree>
    <p:extLst>
      <p:ext uri="{BB962C8B-B14F-4D97-AF65-F5344CB8AC3E}">
        <p14:creationId xmlns:p14="http://schemas.microsoft.com/office/powerpoint/2010/main" val="2381843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35DD2BD4-2C59-4687-96FB-15ADE570F9CB}"/>
              </a:ext>
            </a:extLst>
          </p:cNvPr>
          <p:cNvSpPr/>
          <p:nvPr/>
        </p:nvSpPr>
        <p:spPr>
          <a:xfrm>
            <a:off x="404162" y="41395"/>
            <a:ext cx="2052000" cy="266606"/>
          </a:xfrm>
          <a:prstGeom prst="parallelogram">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Estija</a:t>
            </a:r>
          </a:p>
        </p:txBody>
      </p:sp>
      <p:sp>
        <p:nvSpPr>
          <p:cNvPr id="5" name="Parallelogram 4">
            <a:extLst>
              <a:ext uri="{FF2B5EF4-FFF2-40B4-BE49-F238E27FC236}">
                <a16:creationId xmlns:a16="http://schemas.microsoft.com/office/drawing/2014/main" id="{247206C0-5D09-4092-9BF6-F83C998C8935}"/>
              </a:ext>
            </a:extLst>
          </p:cNvPr>
          <p:cNvSpPr/>
          <p:nvPr/>
        </p:nvSpPr>
        <p:spPr>
          <a:xfrm>
            <a:off x="2380131"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Suomija</a:t>
            </a:r>
          </a:p>
        </p:txBody>
      </p:sp>
      <p:sp>
        <p:nvSpPr>
          <p:cNvPr id="6" name="Parallelogram 5">
            <a:extLst>
              <a:ext uri="{FF2B5EF4-FFF2-40B4-BE49-F238E27FC236}">
                <a16:creationId xmlns:a16="http://schemas.microsoft.com/office/drawing/2014/main" id="{44DCF309-A576-4E02-BDDC-16E658D2E8F8}"/>
              </a:ext>
            </a:extLst>
          </p:cNvPr>
          <p:cNvSpPr/>
          <p:nvPr/>
        </p:nvSpPr>
        <p:spPr>
          <a:xfrm>
            <a:off x="4356100"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Nyderlandai</a:t>
            </a:r>
          </a:p>
        </p:txBody>
      </p:sp>
      <p:sp>
        <p:nvSpPr>
          <p:cNvPr id="7" name="Parallelogram 6">
            <a:extLst>
              <a:ext uri="{FF2B5EF4-FFF2-40B4-BE49-F238E27FC236}">
                <a16:creationId xmlns:a16="http://schemas.microsoft.com/office/drawing/2014/main" id="{49FE8141-7AC9-4210-81A4-44D00BED890C}"/>
              </a:ext>
            </a:extLst>
          </p:cNvPr>
          <p:cNvSpPr/>
          <p:nvPr/>
        </p:nvSpPr>
        <p:spPr>
          <a:xfrm>
            <a:off x="6332070"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Airija</a:t>
            </a:r>
          </a:p>
        </p:txBody>
      </p:sp>
      <p:sp>
        <p:nvSpPr>
          <p:cNvPr id="8" name="Title 1">
            <a:extLst>
              <a:ext uri="{FF2B5EF4-FFF2-40B4-BE49-F238E27FC236}">
                <a16:creationId xmlns:a16="http://schemas.microsoft.com/office/drawing/2014/main" id="{D4BA0322-774D-45E2-995A-B7FBA65EA31F}"/>
              </a:ext>
            </a:extLst>
          </p:cNvPr>
          <p:cNvSpPr>
            <a:spLocks noGrp="1"/>
          </p:cNvSpPr>
          <p:nvPr>
            <p:ph type="title"/>
          </p:nvPr>
        </p:nvSpPr>
        <p:spPr>
          <a:xfrm>
            <a:off x="395536" y="410596"/>
            <a:ext cx="8353177" cy="497454"/>
          </a:xfrm>
        </p:spPr>
        <p:txBody>
          <a:bodyPr lIns="0" tIns="45720" rIns="91440" bIns="45720" anchor="t">
            <a:normAutofit/>
          </a:bodyPr>
          <a:lstStyle/>
          <a:p>
            <a:pPr algn="just"/>
            <a:r>
              <a:rPr lang="lt-LT" sz="1300" dirty="0">
                <a:latin typeface="+mj-ea"/>
              </a:rPr>
              <a:t>Estijos PKT sistema (1 /2 )</a:t>
            </a:r>
            <a:endParaRPr lang="lt-LT" sz="1300" dirty="0"/>
          </a:p>
        </p:txBody>
      </p:sp>
      <p:grpSp>
        <p:nvGrpSpPr>
          <p:cNvPr id="21" name="Group 20">
            <a:extLst>
              <a:ext uri="{FF2B5EF4-FFF2-40B4-BE49-F238E27FC236}">
                <a16:creationId xmlns:a16="http://schemas.microsoft.com/office/drawing/2014/main" id="{E22705AF-C88B-4341-A23B-831D8B0F2B62}"/>
              </a:ext>
            </a:extLst>
          </p:cNvPr>
          <p:cNvGrpSpPr/>
          <p:nvPr/>
        </p:nvGrpSpPr>
        <p:grpSpPr>
          <a:xfrm>
            <a:off x="406686" y="2570924"/>
            <a:ext cx="8354911" cy="394293"/>
            <a:chOff x="272871" y="3027297"/>
            <a:chExt cx="8354911" cy="394293"/>
          </a:xfrm>
        </p:grpSpPr>
        <p:sp>
          <p:nvSpPr>
            <p:cNvPr id="19" name="Rectangle 18">
              <a:extLst>
                <a:ext uri="{FF2B5EF4-FFF2-40B4-BE49-F238E27FC236}">
                  <a16:creationId xmlns:a16="http://schemas.microsoft.com/office/drawing/2014/main" id="{6761DB2B-9A99-4B99-905C-3962E3DFE434}"/>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Stebėsena</a:t>
              </a:r>
            </a:p>
          </p:txBody>
        </p:sp>
        <p:cxnSp>
          <p:nvCxnSpPr>
            <p:cNvPr id="20" name="Straight Arrow Connector 19">
              <a:extLst>
                <a:ext uri="{FF2B5EF4-FFF2-40B4-BE49-F238E27FC236}">
                  <a16:creationId xmlns:a16="http://schemas.microsoft.com/office/drawing/2014/main" id="{CB55DD8A-999B-47AE-BE89-CFB3CD0A8F3C}"/>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37BC4D6-76DB-40CD-AEC7-B336BDE348CD}"/>
              </a:ext>
            </a:extLst>
          </p:cNvPr>
          <p:cNvGrpSpPr/>
          <p:nvPr/>
        </p:nvGrpSpPr>
        <p:grpSpPr>
          <a:xfrm>
            <a:off x="400837" y="936300"/>
            <a:ext cx="8349608" cy="394293"/>
            <a:chOff x="278174" y="3027297"/>
            <a:chExt cx="8349608" cy="394293"/>
          </a:xfrm>
        </p:grpSpPr>
        <p:sp>
          <p:nvSpPr>
            <p:cNvPr id="26" name="Rectangle 25">
              <a:extLst>
                <a:ext uri="{FF2B5EF4-FFF2-40B4-BE49-F238E27FC236}">
                  <a16:creationId xmlns:a16="http://schemas.microsoft.com/office/drawing/2014/main" id="{75909F3D-47DF-49E5-B8AD-69EEF5DB3147}"/>
                </a:ext>
              </a:extLst>
            </p:cNvPr>
            <p:cNvSpPr/>
            <p:nvPr/>
          </p:nvSpPr>
          <p:spPr>
            <a:xfrm>
              <a:off x="278174" y="3027297"/>
              <a:ext cx="2819367"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Programų rengimas ir vykdymas</a:t>
              </a:r>
            </a:p>
          </p:txBody>
        </p:sp>
        <p:cxnSp>
          <p:nvCxnSpPr>
            <p:cNvPr id="27" name="Straight Arrow Connector 26">
              <a:extLst>
                <a:ext uri="{FF2B5EF4-FFF2-40B4-BE49-F238E27FC236}">
                  <a16:creationId xmlns:a16="http://schemas.microsoft.com/office/drawing/2014/main" id="{78D7AFB1-BA5C-4A1B-9045-68AB667DBE9B}"/>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84DF5076-1DA5-4282-925D-B07553CA42E4}"/>
              </a:ext>
            </a:extLst>
          </p:cNvPr>
          <p:cNvGrpSpPr/>
          <p:nvPr/>
        </p:nvGrpSpPr>
        <p:grpSpPr>
          <a:xfrm>
            <a:off x="405055" y="4590949"/>
            <a:ext cx="8354911" cy="394293"/>
            <a:chOff x="272871" y="3027297"/>
            <a:chExt cx="8354911" cy="394293"/>
          </a:xfrm>
        </p:grpSpPr>
        <p:sp>
          <p:nvSpPr>
            <p:cNvPr id="50" name="Rectangle 49">
              <a:extLst>
                <a:ext uri="{FF2B5EF4-FFF2-40B4-BE49-F238E27FC236}">
                  <a16:creationId xmlns:a16="http://schemas.microsoft.com/office/drawing/2014/main" id="{DBF40C3F-D451-490C-B81C-F85C1737C158}"/>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Kokybės užtikrinimas</a:t>
              </a:r>
            </a:p>
          </p:txBody>
        </p:sp>
        <p:cxnSp>
          <p:nvCxnSpPr>
            <p:cNvPr id="51" name="Straight Arrow Connector 50">
              <a:extLst>
                <a:ext uri="{FF2B5EF4-FFF2-40B4-BE49-F238E27FC236}">
                  <a16:creationId xmlns:a16="http://schemas.microsoft.com/office/drawing/2014/main" id="{7479AB89-6B83-46C1-96CB-2EA50C2AC17B}"/>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53" name="TextBox 52">
            <a:extLst>
              <a:ext uri="{FF2B5EF4-FFF2-40B4-BE49-F238E27FC236}">
                <a16:creationId xmlns:a16="http://schemas.microsoft.com/office/drawing/2014/main" id="{A347CF0E-C2E2-44BD-81B2-6E6C77E718A9}"/>
              </a:ext>
            </a:extLst>
          </p:cNvPr>
          <p:cNvSpPr txBox="1"/>
          <p:nvPr/>
        </p:nvSpPr>
        <p:spPr>
          <a:xfrm>
            <a:off x="651518" y="1346751"/>
            <a:ext cx="2281719" cy="12234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lgn="just">
              <a:buClr>
                <a:schemeClr val="accent6"/>
              </a:buClr>
              <a:buFont typeface="Arial" panose="020B0604020202020204" pitchFamily="34" charset="0"/>
              <a:buChar char="•"/>
            </a:pPr>
            <a:r>
              <a:rPr lang="lt" sz="1050">
                <a:cs typeface="Calibri"/>
              </a:rPr>
              <a:t>PKT programų rengėjai ir teikėjai:</a:t>
            </a:r>
            <a:endParaRPr lang="en-US" sz="1050">
              <a:cs typeface="Calibri"/>
            </a:endParaRPr>
          </a:p>
          <a:p>
            <a:pPr marL="171450" indent="-171450" algn="just">
              <a:buClr>
                <a:schemeClr val="accent6"/>
              </a:buClr>
              <a:buFont typeface="Arial" panose="020B0604020202020204" pitchFamily="34" charset="0"/>
              <a:buChar char="•"/>
            </a:pPr>
            <a:endParaRPr lang="lt" sz="1050">
              <a:cs typeface="Calibri"/>
            </a:endParaRPr>
          </a:p>
          <a:p>
            <a:pPr marL="171450" indent="-171450" algn="just">
              <a:buClr>
                <a:schemeClr val="accent6"/>
              </a:buClr>
              <a:buFont typeface="Arial" panose="020B0604020202020204" pitchFamily="34" charset="0"/>
              <a:buChar char="•"/>
            </a:pPr>
            <a:r>
              <a:rPr lang="lt" sz="1050">
                <a:cs typeface="Calibri"/>
              </a:rPr>
              <a:t>Aukštosios mokyklos</a:t>
            </a:r>
            <a:endParaRPr lang="lt-LT" sz="1050">
              <a:cs typeface="Calibri"/>
            </a:endParaRPr>
          </a:p>
          <a:p>
            <a:pPr marL="171450" indent="-171450" algn="just">
              <a:buClr>
                <a:schemeClr val="accent6"/>
              </a:buClr>
              <a:buFont typeface="Arial" panose="020B0604020202020204" pitchFamily="34" charset="0"/>
              <a:buChar char="•"/>
            </a:pPr>
            <a:r>
              <a:rPr lang="lt" sz="1050">
                <a:cs typeface="Calibri"/>
              </a:rPr>
              <a:t>Ugdymo įstaigos</a:t>
            </a:r>
            <a:endParaRPr lang="lt-LT" sz="1050">
              <a:cs typeface="Calibri"/>
            </a:endParaRPr>
          </a:p>
          <a:p>
            <a:pPr marL="171450" indent="-171450" algn="just">
              <a:buClr>
                <a:schemeClr val="accent6"/>
              </a:buClr>
              <a:buFont typeface="Arial" panose="020B0604020202020204" pitchFamily="34" charset="0"/>
              <a:buChar char="•"/>
            </a:pPr>
            <a:r>
              <a:rPr lang="lt" sz="1050">
                <a:cs typeface="Calibri"/>
              </a:rPr>
              <a:t>Mokytojų profesinės organizacijos</a:t>
            </a:r>
            <a:endParaRPr lang="lt-LT" sz="1050">
              <a:cs typeface="Calibri"/>
            </a:endParaRPr>
          </a:p>
          <a:p>
            <a:pPr marL="171450" indent="-171450" algn="just">
              <a:buClr>
                <a:schemeClr val="accent6"/>
              </a:buClr>
              <a:buFont typeface="Arial" panose="020B0604020202020204" pitchFamily="34" charset="0"/>
              <a:buChar char="•"/>
            </a:pPr>
            <a:r>
              <a:rPr lang="lt" sz="1050">
                <a:cs typeface="Calibri"/>
              </a:rPr>
              <a:t>Savivaldybės</a:t>
            </a:r>
            <a:endParaRPr lang="en-US" sz="1050">
              <a:cs typeface="Calibri"/>
            </a:endParaRPr>
          </a:p>
          <a:p>
            <a:pPr marL="171450" indent="-171450" algn="just">
              <a:buClr>
                <a:schemeClr val="accent6"/>
              </a:buClr>
              <a:buFont typeface="Arial" panose="020B0604020202020204" pitchFamily="34" charset="0"/>
              <a:buChar char="•"/>
            </a:pPr>
            <a:r>
              <a:rPr lang="lt" sz="1050">
                <a:cs typeface="Calibri"/>
              </a:rPr>
              <a:t>Privačios įstaigos</a:t>
            </a:r>
            <a:endParaRPr lang="en-US" sz="1050">
              <a:cs typeface="Calibri"/>
            </a:endParaRPr>
          </a:p>
        </p:txBody>
      </p:sp>
      <p:sp>
        <p:nvSpPr>
          <p:cNvPr id="2" name="TextBox 1">
            <a:extLst>
              <a:ext uri="{FF2B5EF4-FFF2-40B4-BE49-F238E27FC236}">
                <a16:creationId xmlns:a16="http://schemas.microsoft.com/office/drawing/2014/main" id="{CD8CF473-A24A-4CF8-9BAD-D2F5AB51982D}"/>
              </a:ext>
            </a:extLst>
          </p:cNvPr>
          <p:cNvSpPr txBox="1"/>
          <p:nvPr/>
        </p:nvSpPr>
        <p:spPr>
          <a:xfrm>
            <a:off x="4356660" y="1328108"/>
            <a:ext cx="3687302" cy="12234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lt-LT" sz="1050">
                <a:cs typeface="Calibri"/>
              </a:rPr>
              <a:t>Nacionalinės PKT programos:</a:t>
            </a:r>
            <a:endParaRPr lang="en-GB" sz="1050">
              <a:cs typeface="Calibri"/>
            </a:endParaRPr>
          </a:p>
          <a:p>
            <a:pPr algn="just"/>
            <a:endParaRPr lang="lt-LT" sz="1050">
              <a:cs typeface="Calibri"/>
            </a:endParaRPr>
          </a:p>
          <a:p>
            <a:pPr algn="just"/>
            <a:r>
              <a:rPr lang="lt-LT" sz="1050">
                <a:cs typeface="Calibri"/>
              </a:rPr>
              <a:t>Finansuojamas rengimas tiesiogiai iš ŠMM ir jos yra nemokamos pedagogams. Šias programas dažniausiai rengia aukštosios mokyklos. Pastarosios programos </a:t>
            </a:r>
            <a:r>
              <a:rPr lang="lt" sz="1050">
                <a:ea typeface="+mn-lt"/>
                <a:cs typeface="+mn-lt"/>
              </a:rPr>
              <a:t> yra paremtos naujausiais tyrimais, novatoriškomis idėjomis, ateities poreikiais, kurių pedagogai dar gali būti neidentifikavę.</a:t>
            </a:r>
            <a:endParaRPr lang="en-GB" sz="1050">
              <a:cs typeface="Calibri"/>
            </a:endParaRPr>
          </a:p>
        </p:txBody>
      </p:sp>
      <p:grpSp>
        <p:nvGrpSpPr>
          <p:cNvPr id="16" name="Group 15">
            <a:extLst>
              <a:ext uri="{FF2B5EF4-FFF2-40B4-BE49-F238E27FC236}">
                <a16:creationId xmlns:a16="http://schemas.microsoft.com/office/drawing/2014/main" id="{C1406930-A32C-4E1E-9552-17D94B020CB8}"/>
              </a:ext>
            </a:extLst>
          </p:cNvPr>
          <p:cNvGrpSpPr/>
          <p:nvPr/>
        </p:nvGrpSpPr>
        <p:grpSpPr>
          <a:xfrm>
            <a:off x="4578128" y="3122563"/>
            <a:ext cx="3619650" cy="1422909"/>
            <a:chOff x="4763766" y="3175602"/>
            <a:chExt cx="3619650" cy="1422909"/>
          </a:xfrm>
        </p:grpSpPr>
        <p:sp>
          <p:nvSpPr>
            <p:cNvPr id="12" name="Rectangle 11">
              <a:extLst>
                <a:ext uri="{FF2B5EF4-FFF2-40B4-BE49-F238E27FC236}">
                  <a16:creationId xmlns:a16="http://schemas.microsoft.com/office/drawing/2014/main" id="{3E1D51AD-7782-457D-9BE6-0FEEA17019F8}"/>
                </a:ext>
              </a:extLst>
            </p:cNvPr>
            <p:cNvSpPr/>
            <p:nvPr/>
          </p:nvSpPr>
          <p:spPr>
            <a:xfrm>
              <a:off x="4765364" y="3175602"/>
              <a:ext cx="3615561" cy="19736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Vidinė</a:t>
              </a:r>
            </a:p>
          </p:txBody>
        </p:sp>
        <p:sp>
          <p:nvSpPr>
            <p:cNvPr id="15" name="Rectangle 14">
              <a:extLst>
                <a:ext uri="{FF2B5EF4-FFF2-40B4-BE49-F238E27FC236}">
                  <a16:creationId xmlns:a16="http://schemas.microsoft.com/office/drawing/2014/main" id="{181E55F1-B897-496C-A203-2F9809E23881}"/>
                </a:ext>
              </a:extLst>
            </p:cNvPr>
            <p:cNvSpPr/>
            <p:nvPr/>
          </p:nvSpPr>
          <p:spPr>
            <a:xfrm>
              <a:off x="6662579" y="3429619"/>
              <a:ext cx="1720837" cy="11688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chemeClr val="tx1"/>
                  </a:solidFill>
                  <a:ea typeface="+mn-lt"/>
                  <a:cs typeface="+mn-lt"/>
                </a:rPr>
                <a:t>PKT nauda yra vertinama kasmet per pokalbius su mokyklos vadovu dėl pedagogo veiklos vertinimo. </a:t>
              </a:r>
              <a:endParaRPr lang="en-US" sz="1050">
                <a:solidFill>
                  <a:schemeClr val="tx1"/>
                </a:solidFill>
                <a:ea typeface="+mn-lt"/>
                <a:cs typeface="+mn-lt"/>
              </a:endParaRPr>
            </a:p>
          </p:txBody>
        </p:sp>
        <p:sp>
          <p:nvSpPr>
            <p:cNvPr id="48" name="Rectangle 47">
              <a:extLst>
                <a:ext uri="{FF2B5EF4-FFF2-40B4-BE49-F238E27FC236}">
                  <a16:creationId xmlns:a16="http://schemas.microsoft.com/office/drawing/2014/main" id="{8E65E5A1-D897-451C-A948-D34178B37D20}"/>
                </a:ext>
              </a:extLst>
            </p:cNvPr>
            <p:cNvSpPr/>
            <p:nvPr/>
          </p:nvSpPr>
          <p:spPr>
            <a:xfrm>
              <a:off x="4763766" y="3429618"/>
              <a:ext cx="1720837" cy="11688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chemeClr val="tx1"/>
                  </a:solidFill>
                  <a:ea typeface="+mn-lt"/>
                  <a:cs typeface="+mn-lt"/>
                </a:rPr>
                <a:t>PKT teikėjai atlieka savo teikiamų paslaugų įtakos vertinimą per grįžtamąjį ryšio rinkimą iš PKT veiklose dalyvavusių pedagogų.</a:t>
              </a:r>
              <a:endParaRPr lang="en-US" sz="1050">
                <a:solidFill>
                  <a:schemeClr val="tx1"/>
                </a:solidFill>
                <a:ea typeface="+mn-lt"/>
                <a:cs typeface="+mn-lt"/>
              </a:endParaRPr>
            </a:p>
          </p:txBody>
        </p:sp>
      </p:grpSp>
      <p:grpSp>
        <p:nvGrpSpPr>
          <p:cNvPr id="52" name="Group 51">
            <a:extLst>
              <a:ext uri="{FF2B5EF4-FFF2-40B4-BE49-F238E27FC236}">
                <a16:creationId xmlns:a16="http://schemas.microsoft.com/office/drawing/2014/main" id="{96624199-4701-4C79-8154-921E7CA09689}"/>
              </a:ext>
            </a:extLst>
          </p:cNvPr>
          <p:cNvGrpSpPr/>
          <p:nvPr/>
        </p:nvGrpSpPr>
        <p:grpSpPr>
          <a:xfrm>
            <a:off x="483484" y="3122563"/>
            <a:ext cx="3619649" cy="1422909"/>
            <a:chOff x="4763767" y="3175602"/>
            <a:chExt cx="3619649" cy="1422909"/>
          </a:xfrm>
        </p:grpSpPr>
        <p:sp>
          <p:nvSpPr>
            <p:cNvPr id="54" name="Rectangle 53">
              <a:extLst>
                <a:ext uri="{FF2B5EF4-FFF2-40B4-BE49-F238E27FC236}">
                  <a16:creationId xmlns:a16="http://schemas.microsoft.com/office/drawing/2014/main" id="{D67A3999-F853-4978-9A88-F0FE42E9F15B}"/>
                </a:ext>
              </a:extLst>
            </p:cNvPr>
            <p:cNvSpPr/>
            <p:nvPr/>
          </p:nvSpPr>
          <p:spPr>
            <a:xfrm>
              <a:off x="4765364" y="3175602"/>
              <a:ext cx="3615561" cy="19736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Išorinė</a:t>
              </a:r>
            </a:p>
          </p:txBody>
        </p:sp>
        <p:sp>
          <p:nvSpPr>
            <p:cNvPr id="55" name="Rectangle 54">
              <a:extLst>
                <a:ext uri="{FF2B5EF4-FFF2-40B4-BE49-F238E27FC236}">
                  <a16:creationId xmlns:a16="http://schemas.microsoft.com/office/drawing/2014/main" id="{0D180A6D-CDDD-4645-A173-EC4A958A3970}"/>
                </a:ext>
              </a:extLst>
            </p:cNvPr>
            <p:cNvSpPr/>
            <p:nvPr/>
          </p:nvSpPr>
          <p:spPr>
            <a:xfrm>
              <a:off x="6667882" y="3429619"/>
              <a:ext cx="1715534" cy="11688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chemeClr val="tx1"/>
                  </a:solidFill>
                  <a:ea typeface="+mn-lt"/>
                  <a:cs typeface="+mn-lt"/>
                </a:rPr>
                <a:t>ŠMM įvertina PKT poveikį profesinių standartų modelyje nurodytų kompetencijų įgijimui. Vertinimas atliekamas pagal apklausas.</a:t>
              </a:r>
            </a:p>
          </p:txBody>
        </p:sp>
        <p:sp>
          <p:nvSpPr>
            <p:cNvPr id="56" name="Rectangle 55">
              <a:extLst>
                <a:ext uri="{FF2B5EF4-FFF2-40B4-BE49-F238E27FC236}">
                  <a16:creationId xmlns:a16="http://schemas.microsoft.com/office/drawing/2014/main" id="{A564C084-E763-420B-8F8C-C44512C660C1}"/>
                </a:ext>
              </a:extLst>
            </p:cNvPr>
            <p:cNvSpPr/>
            <p:nvPr/>
          </p:nvSpPr>
          <p:spPr>
            <a:xfrm>
              <a:off x="4763767" y="3429618"/>
              <a:ext cx="1628346" cy="1163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chemeClr val="tx1"/>
                  </a:solidFill>
                  <a:ea typeface="+mn-lt"/>
                  <a:cs typeface="+mn-lt"/>
                </a:rPr>
                <a:t>ŠMM išorinio vertinimo departamentas atlieka išorinę mokytojų kvalifikacinių reikalavimų</a:t>
              </a:r>
              <a:endParaRPr lang="en-US">
                <a:solidFill>
                  <a:schemeClr val="tx1"/>
                </a:solidFill>
                <a:ea typeface="+mn-lt"/>
                <a:cs typeface="+mn-lt"/>
              </a:endParaRPr>
            </a:p>
            <a:p>
              <a:pPr algn="just"/>
              <a:r>
                <a:rPr lang="lt-LT" sz="1050" noProof="1">
                  <a:solidFill>
                    <a:schemeClr val="tx1"/>
                  </a:solidFill>
                  <a:ea typeface="+mn-lt"/>
                  <a:cs typeface="+mn-lt"/>
                </a:rPr>
                <a:t>laikymosi stebėseną.</a:t>
              </a:r>
              <a:endParaRPr lang="en-US">
                <a:solidFill>
                  <a:schemeClr val="tx1"/>
                </a:solidFill>
                <a:ea typeface="+mn-lt"/>
                <a:cs typeface="+mn-lt"/>
              </a:endParaRPr>
            </a:p>
          </p:txBody>
        </p:sp>
      </p:grpSp>
      <p:sp>
        <p:nvSpPr>
          <p:cNvPr id="17" name="TextBox 16">
            <a:extLst>
              <a:ext uri="{FF2B5EF4-FFF2-40B4-BE49-F238E27FC236}">
                <a16:creationId xmlns:a16="http://schemas.microsoft.com/office/drawing/2014/main" id="{5325A1A7-0F0C-44F3-8DFD-586133FCFBC2}"/>
              </a:ext>
            </a:extLst>
          </p:cNvPr>
          <p:cNvSpPr txBox="1"/>
          <p:nvPr/>
        </p:nvSpPr>
        <p:spPr>
          <a:xfrm>
            <a:off x="405221" y="4982525"/>
            <a:ext cx="8036536"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lgn="just">
              <a:buClr>
                <a:schemeClr val="accent6"/>
              </a:buClr>
              <a:buFont typeface="Arial" panose="020B0604020202020204" pitchFamily="34" charset="0"/>
              <a:buChar char="•"/>
            </a:pPr>
            <a:r>
              <a:rPr lang="lt-LT" sz="1050" dirty="0">
                <a:cs typeface="Calibri"/>
              </a:rPr>
              <a:t>Kokybė užtikrinama per grįžtamojo ryšio rinkimą iš dalyvių. </a:t>
            </a:r>
            <a:endParaRPr lang="en-GB" sz="1050" dirty="0">
              <a:cs typeface="Calibri"/>
            </a:endParaRPr>
          </a:p>
          <a:p>
            <a:pPr marL="171450" indent="-171450" algn="just">
              <a:buClr>
                <a:schemeClr val="accent6"/>
              </a:buClr>
              <a:buFont typeface="Arial" panose="020B0604020202020204" pitchFamily="34" charset="0"/>
              <a:buChar char="•"/>
            </a:pPr>
            <a:r>
              <a:rPr lang="lt-LT" sz="1050" dirty="0">
                <a:cs typeface="Calibri"/>
              </a:rPr>
              <a:t>Estijoje nevykdoma PKT programų akreditacija ir išorės institucijos nevertina PKT programų kokybės. </a:t>
            </a:r>
            <a:endParaRPr lang="en-GB" sz="1050" dirty="0">
              <a:cs typeface="Calibri"/>
            </a:endParaRPr>
          </a:p>
          <a:p>
            <a:pPr marL="171450" indent="-171450" algn="just">
              <a:buClr>
                <a:schemeClr val="accent6"/>
              </a:buClr>
              <a:buFont typeface="Arial" panose="020B0604020202020204" pitchFamily="34" charset="0"/>
              <a:buChar char="•"/>
            </a:pPr>
            <a:r>
              <a:rPr lang="lt-LT" sz="1050" dirty="0">
                <a:cs typeface="Calibri"/>
              </a:rPr>
              <a:t>Centralizuotai užsakytas PKT programas, atitinkančias nacionalinius prioritetus, vertina dėl finansavimo klausimų sprendžiantis komitetas. </a:t>
            </a:r>
            <a:endParaRPr lang="en-GB" sz="1050" dirty="0">
              <a:cs typeface="Calibri"/>
            </a:endParaRPr>
          </a:p>
          <a:p>
            <a:pPr marL="171450" indent="-171450" algn="just">
              <a:buClr>
                <a:schemeClr val="accent6"/>
              </a:buClr>
              <a:buFont typeface="Arial" panose="020B0604020202020204" pitchFamily="34" charset="0"/>
              <a:buChar char="•"/>
            </a:pPr>
            <a:r>
              <a:rPr lang="lt-LT" sz="1050" dirty="0">
                <a:cs typeface="Calibri"/>
              </a:rPr>
              <a:t>Internetinėje svetainėje </a:t>
            </a:r>
            <a:r>
              <a:rPr lang="lt-LT" sz="1050" dirty="0" err="1">
                <a:cs typeface="Calibri"/>
              </a:rPr>
              <a:t>Juhan</a:t>
            </a:r>
            <a:r>
              <a:rPr lang="lt-LT" sz="1050" dirty="0">
                <a:cs typeface="Calibri"/>
              </a:rPr>
              <a:t> renkami atsiliepimai apie PKT renginių turinį ir kokybę. </a:t>
            </a:r>
            <a:endParaRPr lang="en-GB" sz="1050" dirty="0">
              <a:cs typeface="Calibri"/>
            </a:endParaRPr>
          </a:p>
        </p:txBody>
      </p:sp>
    </p:spTree>
    <p:extLst>
      <p:ext uri="{BB962C8B-B14F-4D97-AF65-F5344CB8AC3E}">
        <p14:creationId xmlns:p14="http://schemas.microsoft.com/office/powerpoint/2010/main" val="1938286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35DD2BD4-2C59-4687-96FB-15ADE570F9CB}"/>
              </a:ext>
            </a:extLst>
          </p:cNvPr>
          <p:cNvSpPr/>
          <p:nvPr/>
        </p:nvSpPr>
        <p:spPr>
          <a:xfrm>
            <a:off x="404162"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Estija</a:t>
            </a:r>
          </a:p>
        </p:txBody>
      </p:sp>
      <p:sp>
        <p:nvSpPr>
          <p:cNvPr id="5" name="Parallelogram 4">
            <a:extLst>
              <a:ext uri="{FF2B5EF4-FFF2-40B4-BE49-F238E27FC236}">
                <a16:creationId xmlns:a16="http://schemas.microsoft.com/office/drawing/2014/main" id="{247206C0-5D09-4092-9BF6-F83C998C8935}"/>
              </a:ext>
            </a:extLst>
          </p:cNvPr>
          <p:cNvSpPr/>
          <p:nvPr/>
        </p:nvSpPr>
        <p:spPr>
          <a:xfrm>
            <a:off x="2380131" y="41395"/>
            <a:ext cx="2052000" cy="266606"/>
          </a:xfrm>
          <a:prstGeom prst="parallelogram">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Suomija</a:t>
            </a:r>
          </a:p>
        </p:txBody>
      </p:sp>
      <p:sp>
        <p:nvSpPr>
          <p:cNvPr id="6" name="Parallelogram 5">
            <a:extLst>
              <a:ext uri="{FF2B5EF4-FFF2-40B4-BE49-F238E27FC236}">
                <a16:creationId xmlns:a16="http://schemas.microsoft.com/office/drawing/2014/main" id="{44DCF309-A576-4E02-BDDC-16E658D2E8F8}"/>
              </a:ext>
            </a:extLst>
          </p:cNvPr>
          <p:cNvSpPr/>
          <p:nvPr/>
        </p:nvSpPr>
        <p:spPr>
          <a:xfrm>
            <a:off x="4356100"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Nyderlandai</a:t>
            </a:r>
          </a:p>
        </p:txBody>
      </p:sp>
      <p:sp>
        <p:nvSpPr>
          <p:cNvPr id="7" name="Parallelogram 6">
            <a:extLst>
              <a:ext uri="{FF2B5EF4-FFF2-40B4-BE49-F238E27FC236}">
                <a16:creationId xmlns:a16="http://schemas.microsoft.com/office/drawing/2014/main" id="{49FE8141-7AC9-4210-81A4-44D00BED890C}"/>
              </a:ext>
            </a:extLst>
          </p:cNvPr>
          <p:cNvSpPr/>
          <p:nvPr/>
        </p:nvSpPr>
        <p:spPr>
          <a:xfrm>
            <a:off x="6332070"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Airija</a:t>
            </a:r>
          </a:p>
        </p:txBody>
      </p:sp>
      <p:sp>
        <p:nvSpPr>
          <p:cNvPr id="8" name="Title 1">
            <a:extLst>
              <a:ext uri="{FF2B5EF4-FFF2-40B4-BE49-F238E27FC236}">
                <a16:creationId xmlns:a16="http://schemas.microsoft.com/office/drawing/2014/main" id="{D4BA0322-774D-45E2-995A-B7FBA65EA31F}"/>
              </a:ext>
            </a:extLst>
          </p:cNvPr>
          <p:cNvSpPr>
            <a:spLocks noGrp="1"/>
          </p:cNvSpPr>
          <p:nvPr>
            <p:ph type="title"/>
          </p:nvPr>
        </p:nvSpPr>
        <p:spPr>
          <a:xfrm>
            <a:off x="336458" y="471684"/>
            <a:ext cx="8397533" cy="497454"/>
          </a:xfrm>
        </p:spPr>
        <p:txBody>
          <a:bodyPr lIns="0" tIns="45720" rIns="91440" bIns="45720" anchor="t">
            <a:normAutofit/>
          </a:bodyPr>
          <a:lstStyle/>
          <a:p>
            <a:pPr algn="just"/>
            <a:r>
              <a:rPr lang="en-GB" dirty="0" err="1">
                <a:latin typeface="Cambria"/>
                <a:ea typeface="Cambria"/>
              </a:rPr>
              <a:t>Suom</a:t>
            </a:r>
            <a:r>
              <a:rPr lang="lt-LT" dirty="0" err="1">
                <a:latin typeface="Cambria"/>
                <a:ea typeface="Cambria"/>
              </a:rPr>
              <a:t>ijos</a:t>
            </a:r>
            <a:r>
              <a:rPr lang="lt-LT" dirty="0">
                <a:latin typeface="Cambria"/>
                <a:ea typeface="Cambria"/>
              </a:rPr>
              <a:t> PKT sistema (</a:t>
            </a:r>
            <a:r>
              <a:rPr lang="en-GB" dirty="0">
                <a:latin typeface="Cambria"/>
                <a:ea typeface="Cambria"/>
              </a:rPr>
              <a:t>1 / 2)</a:t>
            </a:r>
            <a:endParaRPr lang="lt-LT" dirty="0">
              <a:ea typeface="Cambria"/>
            </a:endParaRPr>
          </a:p>
        </p:txBody>
      </p:sp>
      <p:grpSp>
        <p:nvGrpSpPr>
          <p:cNvPr id="21" name="Group 20">
            <a:extLst>
              <a:ext uri="{FF2B5EF4-FFF2-40B4-BE49-F238E27FC236}">
                <a16:creationId xmlns:a16="http://schemas.microsoft.com/office/drawing/2014/main" id="{E22705AF-C88B-4341-A23B-831D8B0F2B62}"/>
              </a:ext>
            </a:extLst>
          </p:cNvPr>
          <p:cNvGrpSpPr/>
          <p:nvPr/>
        </p:nvGrpSpPr>
        <p:grpSpPr>
          <a:xfrm>
            <a:off x="406686" y="2010305"/>
            <a:ext cx="8354911" cy="394293"/>
            <a:chOff x="272871" y="3027297"/>
            <a:chExt cx="8354911" cy="394293"/>
          </a:xfrm>
        </p:grpSpPr>
        <p:sp>
          <p:nvSpPr>
            <p:cNvPr id="19" name="Rectangle 18">
              <a:extLst>
                <a:ext uri="{FF2B5EF4-FFF2-40B4-BE49-F238E27FC236}">
                  <a16:creationId xmlns:a16="http://schemas.microsoft.com/office/drawing/2014/main" id="{6761DB2B-9A99-4B99-905C-3962E3DFE434}"/>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Finansavimas</a:t>
              </a:r>
            </a:p>
          </p:txBody>
        </p:sp>
        <p:cxnSp>
          <p:nvCxnSpPr>
            <p:cNvPr id="20" name="Straight Arrow Connector 19">
              <a:extLst>
                <a:ext uri="{FF2B5EF4-FFF2-40B4-BE49-F238E27FC236}">
                  <a16:creationId xmlns:a16="http://schemas.microsoft.com/office/drawing/2014/main" id="{CB55DD8A-999B-47AE-BE89-CFB3CD0A8F3C}"/>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37BC4D6-76DB-40CD-AEC7-B336BDE348CD}"/>
              </a:ext>
            </a:extLst>
          </p:cNvPr>
          <p:cNvGrpSpPr/>
          <p:nvPr/>
        </p:nvGrpSpPr>
        <p:grpSpPr>
          <a:xfrm>
            <a:off x="395534" y="863959"/>
            <a:ext cx="8354911" cy="394293"/>
            <a:chOff x="272871" y="3027297"/>
            <a:chExt cx="8354911" cy="394293"/>
          </a:xfrm>
        </p:grpSpPr>
        <p:sp>
          <p:nvSpPr>
            <p:cNvPr id="26" name="Rectangle 25">
              <a:extLst>
                <a:ext uri="{FF2B5EF4-FFF2-40B4-BE49-F238E27FC236}">
                  <a16:creationId xmlns:a16="http://schemas.microsoft.com/office/drawing/2014/main" id="{75909F3D-47DF-49E5-B8AD-69EEF5DB3147}"/>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Reglamentavimas</a:t>
              </a:r>
            </a:p>
          </p:txBody>
        </p:sp>
        <p:cxnSp>
          <p:nvCxnSpPr>
            <p:cNvPr id="27" name="Straight Arrow Connector 26">
              <a:extLst>
                <a:ext uri="{FF2B5EF4-FFF2-40B4-BE49-F238E27FC236}">
                  <a16:creationId xmlns:a16="http://schemas.microsoft.com/office/drawing/2014/main" id="{78D7AFB1-BA5C-4A1B-9045-68AB667DBE9B}"/>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17" name="TextBox 16">
            <a:extLst>
              <a:ext uri="{FF2B5EF4-FFF2-40B4-BE49-F238E27FC236}">
                <a16:creationId xmlns:a16="http://schemas.microsoft.com/office/drawing/2014/main" id="{3943F60A-B91C-4B98-9E64-78FCCC2F3D54}"/>
              </a:ext>
            </a:extLst>
          </p:cNvPr>
          <p:cNvSpPr txBox="1"/>
          <p:nvPr/>
        </p:nvSpPr>
        <p:spPr>
          <a:xfrm>
            <a:off x="400190" y="1401561"/>
            <a:ext cx="8216456"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lgn="just">
              <a:buClr>
                <a:schemeClr val="accent6"/>
              </a:buClr>
              <a:buFont typeface="Arial" panose="020B0604020202020204" pitchFamily="34" charset="0"/>
              <a:buChar char="•"/>
            </a:pPr>
            <a:r>
              <a:rPr lang="lt-LT" sz="1050">
                <a:ea typeface="+mn-lt"/>
                <a:cs typeface="+mn-lt"/>
              </a:rPr>
              <a:t>Suomijoje nėra specialių teisės aktų, reglamentuojančių PKT. Priklausomai nuo vietos valdžios požiūrio, pagal atitinkamus įstatus ir kolektyvines sutartis mokytojai privalo 1–5 d. per metus dalyvauti PKT veiklose. </a:t>
            </a:r>
          </a:p>
          <a:p>
            <a:pPr marL="171450" indent="-171450" algn="just">
              <a:buClr>
                <a:schemeClr val="accent6"/>
              </a:buClr>
              <a:buFont typeface="Arial" panose="020B0604020202020204" pitchFamily="34" charset="0"/>
              <a:buChar char="•"/>
            </a:pPr>
            <a:r>
              <a:rPr lang="lt-LT" sz="1050">
                <a:ea typeface="+mn-lt"/>
                <a:cs typeface="+mn-lt"/>
              </a:rPr>
              <a:t>Reikalavimai PKT savivaldybėse skiriasi. Nacionalinė Vyriausybė nustato, kad kiekviena savivaldybė kasmet finansuotų bent 3 privalomas PKT dienas. </a:t>
            </a:r>
            <a:endParaRPr lang="lt-LT" sz="1050">
              <a:cs typeface="Calibri"/>
            </a:endParaRPr>
          </a:p>
        </p:txBody>
      </p:sp>
      <p:sp>
        <p:nvSpPr>
          <p:cNvPr id="38" name="TextBox 37">
            <a:extLst>
              <a:ext uri="{FF2B5EF4-FFF2-40B4-BE49-F238E27FC236}">
                <a16:creationId xmlns:a16="http://schemas.microsoft.com/office/drawing/2014/main" id="{787DCCBB-04AD-45F3-814A-F0BE45E2CFE9}"/>
              </a:ext>
            </a:extLst>
          </p:cNvPr>
          <p:cNvSpPr txBox="1"/>
          <p:nvPr/>
        </p:nvSpPr>
        <p:spPr>
          <a:xfrm>
            <a:off x="407019" y="2462189"/>
            <a:ext cx="2163336" cy="5770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lt-LT" sz="1050">
                <a:ea typeface="+mn-lt"/>
                <a:cs typeface="+mn-lt"/>
              </a:rPr>
              <a:t>Švietimo ir kultūros ministerija, remdamasi teikėjų paraiškomis tiesiogiai skiria finansavimą:</a:t>
            </a:r>
            <a:endParaRPr lang="lt-LT" sz="1050">
              <a:cs typeface="Calibri"/>
            </a:endParaRPr>
          </a:p>
        </p:txBody>
      </p:sp>
      <p:grpSp>
        <p:nvGrpSpPr>
          <p:cNvPr id="46" name="Group 45">
            <a:extLst>
              <a:ext uri="{FF2B5EF4-FFF2-40B4-BE49-F238E27FC236}">
                <a16:creationId xmlns:a16="http://schemas.microsoft.com/office/drawing/2014/main" id="{4313B0BC-DEAF-4320-BB35-EE66F54326B0}"/>
              </a:ext>
            </a:extLst>
          </p:cNvPr>
          <p:cNvGrpSpPr/>
          <p:nvPr/>
        </p:nvGrpSpPr>
        <p:grpSpPr>
          <a:xfrm>
            <a:off x="2843562" y="2506793"/>
            <a:ext cx="2927194" cy="485079"/>
            <a:chOff x="2720898" y="3668751"/>
            <a:chExt cx="2927194" cy="485079"/>
          </a:xfrm>
        </p:grpSpPr>
        <p:sp>
          <p:nvSpPr>
            <p:cNvPr id="40" name="Rectangle 39">
              <a:extLst>
                <a:ext uri="{FF2B5EF4-FFF2-40B4-BE49-F238E27FC236}">
                  <a16:creationId xmlns:a16="http://schemas.microsoft.com/office/drawing/2014/main" id="{DD3E6B97-7117-4711-844A-EB2B78B3936F}"/>
                </a:ext>
              </a:extLst>
            </p:cNvPr>
            <p:cNvSpPr/>
            <p:nvPr/>
          </p:nvSpPr>
          <p:spPr>
            <a:xfrm>
              <a:off x="2720898" y="3674328"/>
              <a:ext cx="1260088" cy="479502"/>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050" dirty="0">
                  <a:solidFill>
                    <a:schemeClr val="tx1"/>
                  </a:solidFill>
                  <a:cs typeface="Calibri"/>
                </a:rPr>
                <a:t>Švietimo ir kultūros ministerija</a:t>
              </a:r>
            </a:p>
          </p:txBody>
        </p:sp>
        <p:sp>
          <p:nvSpPr>
            <p:cNvPr id="41" name="Rectangle 40">
              <a:extLst>
                <a:ext uri="{FF2B5EF4-FFF2-40B4-BE49-F238E27FC236}">
                  <a16:creationId xmlns:a16="http://schemas.microsoft.com/office/drawing/2014/main" id="{D38A1F4D-8F1E-4C4B-B6D4-7D7F9B418D3D}"/>
                </a:ext>
              </a:extLst>
            </p:cNvPr>
            <p:cNvSpPr/>
            <p:nvPr/>
          </p:nvSpPr>
          <p:spPr>
            <a:xfrm>
              <a:off x="4345465" y="3668751"/>
              <a:ext cx="1302627" cy="485078"/>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050">
                  <a:solidFill>
                    <a:schemeClr val="tx1"/>
                  </a:solidFill>
                  <a:cs typeface="Calibri"/>
                </a:rPr>
                <a:t>PKT teikėjai</a:t>
              </a:r>
            </a:p>
          </p:txBody>
        </p:sp>
        <p:sp>
          <p:nvSpPr>
            <p:cNvPr id="44" name="Isosceles Triangle 43">
              <a:extLst>
                <a:ext uri="{FF2B5EF4-FFF2-40B4-BE49-F238E27FC236}">
                  <a16:creationId xmlns:a16="http://schemas.microsoft.com/office/drawing/2014/main" id="{38727459-8AC1-488A-AFE8-9BECF06AF602}"/>
                </a:ext>
              </a:extLst>
            </p:cNvPr>
            <p:cNvSpPr/>
            <p:nvPr/>
          </p:nvSpPr>
          <p:spPr>
            <a:xfrm rot="5400000">
              <a:off x="3977343" y="3860163"/>
              <a:ext cx="371765" cy="10052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lt-LT" sz="1200">
                <a:solidFill>
                  <a:schemeClr val="tx1"/>
                </a:solidFill>
              </a:endParaRPr>
            </a:p>
          </p:txBody>
        </p:sp>
      </p:grpSp>
      <p:grpSp>
        <p:nvGrpSpPr>
          <p:cNvPr id="49" name="Group 48">
            <a:extLst>
              <a:ext uri="{FF2B5EF4-FFF2-40B4-BE49-F238E27FC236}">
                <a16:creationId xmlns:a16="http://schemas.microsoft.com/office/drawing/2014/main" id="{84DF5076-1DA5-4282-925D-B07553CA42E4}"/>
              </a:ext>
            </a:extLst>
          </p:cNvPr>
          <p:cNvGrpSpPr/>
          <p:nvPr/>
        </p:nvGrpSpPr>
        <p:grpSpPr>
          <a:xfrm>
            <a:off x="373231" y="3547051"/>
            <a:ext cx="8354911" cy="394293"/>
            <a:chOff x="272871" y="3027297"/>
            <a:chExt cx="8354911" cy="394293"/>
          </a:xfrm>
        </p:grpSpPr>
        <p:sp>
          <p:nvSpPr>
            <p:cNvPr id="50" name="Rectangle 49">
              <a:extLst>
                <a:ext uri="{FF2B5EF4-FFF2-40B4-BE49-F238E27FC236}">
                  <a16:creationId xmlns:a16="http://schemas.microsoft.com/office/drawing/2014/main" id="{DBF40C3F-D451-490C-B81C-F85C1737C158}"/>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Bendradarbiavimas</a:t>
              </a:r>
            </a:p>
          </p:txBody>
        </p:sp>
        <p:cxnSp>
          <p:nvCxnSpPr>
            <p:cNvPr id="51" name="Straight Arrow Connector 50">
              <a:extLst>
                <a:ext uri="{FF2B5EF4-FFF2-40B4-BE49-F238E27FC236}">
                  <a16:creationId xmlns:a16="http://schemas.microsoft.com/office/drawing/2014/main" id="{7479AB89-6B83-46C1-96CB-2EA50C2AC17B}"/>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53" name="TextBox 52">
            <a:extLst>
              <a:ext uri="{FF2B5EF4-FFF2-40B4-BE49-F238E27FC236}">
                <a16:creationId xmlns:a16="http://schemas.microsoft.com/office/drawing/2014/main" id="{A347CF0E-C2E2-44BD-81B2-6E6C77E718A9}"/>
              </a:ext>
            </a:extLst>
          </p:cNvPr>
          <p:cNvSpPr txBox="1"/>
          <p:nvPr/>
        </p:nvSpPr>
        <p:spPr>
          <a:xfrm>
            <a:off x="366410" y="3980238"/>
            <a:ext cx="8426659" cy="5770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indent="-285750">
              <a:buClr>
                <a:schemeClr val="accent6"/>
              </a:buClr>
              <a:buFont typeface="Arial" panose="020B0604020202020204" pitchFamily="34" charset="0"/>
              <a:buChar char="•"/>
            </a:pPr>
            <a:r>
              <a:rPr lang="en-GB" sz="1050" dirty="0">
                <a:cs typeface="Calibri"/>
              </a:rPr>
              <a:t>Auk</a:t>
            </a:r>
            <a:r>
              <a:rPr lang="lt-LT" sz="1050" dirty="0" err="1">
                <a:cs typeface="Calibri"/>
              </a:rPr>
              <a:t>štosios</a:t>
            </a:r>
            <a:r>
              <a:rPr lang="lt-LT" sz="1050" dirty="0">
                <a:cs typeface="Calibri"/>
              </a:rPr>
              <a:t> mokyklos vertindamos PKT poreikius reguliariai susitinka su švietimo įstaigų vadovais ir aptaria PKT poreikių klausimus</a:t>
            </a:r>
          </a:p>
          <a:p>
            <a:pPr indent="-285750">
              <a:buClr>
                <a:schemeClr val="accent6"/>
              </a:buClr>
              <a:buFont typeface="Arial" panose="020B0604020202020204" pitchFamily="34" charset="0"/>
              <a:buChar char="•"/>
            </a:pPr>
            <a:r>
              <a:rPr lang="lt-LT" sz="1050" dirty="0">
                <a:cs typeface="Calibri"/>
              </a:rPr>
              <a:t>Aukštosios mokyklos bendradarbiauja su mokyklomis keisdamiesi patirtimi: mokytojai dalijasi profesinės praktikos žiniomis, o dėstytojai suteikia informaciją apie naujausius mokymo(</a:t>
            </a:r>
            <a:r>
              <a:rPr lang="lt-LT" sz="1050" dirty="0" err="1">
                <a:cs typeface="Calibri"/>
              </a:rPr>
              <a:t>si</a:t>
            </a:r>
            <a:r>
              <a:rPr lang="lt-LT" sz="1050" dirty="0">
                <a:cs typeface="Calibri"/>
              </a:rPr>
              <a:t>) ar metodologinius aspektus</a:t>
            </a:r>
            <a:endParaRPr lang="en-US" dirty="0"/>
          </a:p>
        </p:txBody>
      </p:sp>
      <p:grpSp>
        <p:nvGrpSpPr>
          <p:cNvPr id="55" name="Group 54">
            <a:extLst>
              <a:ext uri="{FF2B5EF4-FFF2-40B4-BE49-F238E27FC236}">
                <a16:creationId xmlns:a16="http://schemas.microsoft.com/office/drawing/2014/main" id="{5B2FD58A-EAAC-43F0-8CA6-AA65447DAAD0}"/>
              </a:ext>
            </a:extLst>
          </p:cNvPr>
          <p:cNvGrpSpPr/>
          <p:nvPr/>
        </p:nvGrpSpPr>
        <p:grpSpPr>
          <a:xfrm>
            <a:off x="417835" y="4557374"/>
            <a:ext cx="8354911" cy="199076"/>
            <a:chOff x="272871" y="3191889"/>
            <a:chExt cx="8354911" cy="199076"/>
          </a:xfrm>
        </p:grpSpPr>
        <p:sp>
          <p:nvSpPr>
            <p:cNvPr id="56" name="Rectangle 55">
              <a:extLst>
                <a:ext uri="{FF2B5EF4-FFF2-40B4-BE49-F238E27FC236}">
                  <a16:creationId xmlns:a16="http://schemas.microsoft.com/office/drawing/2014/main" id="{99A6280F-9012-4AE6-831B-39CCCB519AE5}"/>
                </a:ext>
              </a:extLst>
            </p:cNvPr>
            <p:cNvSpPr/>
            <p:nvPr/>
          </p:nvSpPr>
          <p:spPr>
            <a:xfrm>
              <a:off x="272871" y="3191889"/>
              <a:ext cx="1944216"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dirty="0">
                  <a:solidFill>
                    <a:schemeClr val="tx1"/>
                  </a:solidFill>
                </a:rPr>
                <a:t>PKT poreikių vertinimas</a:t>
              </a:r>
            </a:p>
          </p:txBody>
        </p:sp>
        <p:cxnSp>
          <p:nvCxnSpPr>
            <p:cNvPr id="57" name="Straight Arrow Connector 56">
              <a:extLst>
                <a:ext uri="{FF2B5EF4-FFF2-40B4-BE49-F238E27FC236}">
                  <a16:creationId xmlns:a16="http://schemas.microsoft.com/office/drawing/2014/main" id="{2E7D0B68-8DDA-4071-8C8E-E619D7F3F1CF}"/>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60" name="Rectangle 59">
            <a:extLst>
              <a:ext uri="{FF2B5EF4-FFF2-40B4-BE49-F238E27FC236}">
                <a16:creationId xmlns:a16="http://schemas.microsoft.com/office/drawing/2014/main" id="{BCE3AAE7-D6B4-43D1-B29C-1016ADA97EB2}"/>
              </a:ext>
            </a:extLst>
          </p:cNvPr>
          <p:cNvSpPr/>
          <p:nvPr/>
        </p:nvSpPr>
        <p:spPr>
          <a:xfrm>
            <a:off x="437345" y="4814541"/>
            <a:ext cx="2225928" cy="1867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Nacionaliniai</a:t>
            </a:r>
          </a:p>
        </p:txBody>
      </p:sp>
      <p:sp>
        <p:nvSpPr>
          <p:cNvPr id="62" name="Rectangle 61">
            <a:extLst>
              <a:ext uri="{FF2B5EF4-FFF2-40B4-BE49-F238E27FC236}">
                <a16:creationId xmlns:a16="http://schemas.microsoft.com/office/drawing/2014/main" id="{AE0E76A9-A998-4725-8A2E-B6F1E5CD3A22}"/>
              </a:ext>
            </a:extLst>
          </p:cNvPr>
          <p:cNvSpPr/>
          <p:nvPr/>
        </p:nvSpPr>
        <p:spPr>
          <a:xfrm>
            <a:off x="6848853" y="4808531"/>
            <a:ext cx="1944216" cy="1867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Pedagogų</a:t>
            </a:r>
          </a:p>
        </p:txBody>
      </p:sp>
      <p:sp>
        <p:nvSpPr>
          <p:cNvPr id="64" name="Rectangle 63">
            <a:extLst>
              <a:ext uri="{FF2B5EF4-FFF2-40B4-BE49-F238E27FC236}">
                <a16:creationId xmlns:a16="http://schemas.microsoft.com/office/drawing/2014/main" id="{4AF32163-B136-45B2-9975-AA50D434CED3}"/>
              </a:ext>
            </a:extLst>
          </p:cNvPr>
          <p:cNvSpPr/>
          <p:nvPr/>
        </p:nvSpPr>
        <p:spPr>
          <a:xfrm>
            <a:off x="439892" y="5047340"/>
            <a:ext cx="2231504" cy="9926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r>
              <a:rPr lang="lt-LT" sz="1050" noProof="1">
                <a:solidFill>
                  <a:schemeClr val="tx1"/>
                </a:solidFill>
              </a:rPr>
              <a:t>Valstybės finansuojamo PKT prioritetus kasmet nustato Suomijos nacionalinė švietimo agentūra remdamasi strateginiais dokumentais.</a:t>
            </a:r>
          </a:p>
        </p:txBody>
      </p:sp>
      <p:sp>
        <p:nvSpPr>
          <p:cNvPr id="66" name="Rectangle 65">
            <a:extLst>
              <a:ext uri="{FF2B5EF4-FFF2-40B4-BE49-F238E27FC236}">
                <a16:creationId xmlns:a16="http://schemas.microsoft.com/office/drawing/2014/main" id="{FD1C34E6-C313-46D2-BA44-B8D6766162CA}"/>
              </a:ext>
            </a:extLst>
          </p:cNvPr>
          <p:cNvSpPr/>
          <p:nvPr/>
        </p:nvSpPr>
        <p:spPr>
          <a:xfrm>
            <a:off x="4794717" y="5047342"/>
            <a:ext cx="1944898" cy="9868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chemeClr val="tx1"/>
                </a:solidFill>
              </a:rPr>
              <a:t>Mokyklos nustato specifinius PKT poreikius atsižvelgdamos į pedagogų, saivaldybių ir nacionaliniu mastu nustatytus poreikius.</a:t>
            </a:r>
          </a:p>
        </p:txBody>
      </p:sp>
      <p:sp>
        <p:nvSpPr>
          <p:cNvPr id="68" name="Rectangle 67">
            <a:extLst>
              <a:ext uri="{FF2B5EF4-FFF2-40B4-BE49-F238E27FC236}">
                <a16:creationId xmlns:a16="http://schemas.microsoft.com/office/drawing/2014/main" id="{DC51C86B-4691-48DF-8125-FC5AA5B851D0}"/>
              </a:ext>
            </a:extLst>
          </p:cNvPr>
          <p:cNvSpPr/>
          <p:nvPr/>
        </p:nvSpPr>
        <p:spPr>
          <a:xfrm>
            <a:off x="6854428" y="5048947"/>
            <a:ext cx="1944898" cy="9926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chemeClr val="tx1"/>
                </a:solidFill>
              </a:rPr>
              <a:t>Pedagogai nustato savo PKT poreikius. Siekiama, kad visi Suomijos mokytojai  (iki 2024 m.) turėtų PKT planus, kurių įgyvendinimas būtų nuolat stebimas.</a:t>
            </a:r>
          </a:p>
        </p:txBody>
      </p:sp>
      <p:sp>
        <p:nvSpPr>
          <p:cNvPr id="70" name="Rectangle 69">
            <a:extLst>
              <a:ext uri="{FF2B5EF4-FFF2-40B4-BE49-F238E27FC236}">
                <a16:creationId xmlns:a16="http://schemas.microsoft.com/office/drawing/2014/main" id="{FE0ED578-935C-4054-BC99-28C242DCB930}"/>
              </a:ext>
            </a:extLst>
          </p:cNvPr>
          <p:cNvSpPr/>
          <p:nvPr/>
        </p:nvSpPr>
        <p:spPr>
          <a:xfrm>
            <a:off x="2771806" y="4808532"/>
            <a:ext cx="1932723" cy="1867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Savivaldos</a:t>
            </a:r>
          </a:p>
        </p:txBody>
      </p:sp>
      <p:sp>
        <p:nvSpPr>
          <p:cNvPr id="72" name="Rectangle 71">
            <a:extLst>
              <a:ext uri="{FF2B5EF4-FFF2-40B4-BE49-F238E27FC236}">
                <a16:creationId xmlns:a16="http://schemas.microsoft.com/office/drawing/2014/main" id="{4FEE95EE-976C-42C6-A9A7-26ECEE6DCBFD}"/>
              </a:ext>
            </a:extLst>
          </p:cNvPr>
          <p:cNvSpPr/>
          <p:nvPr/>
        </p:nvSpPr>
        <p:spPr>
          <a:xfrm>
            <a:off x="4796104" y="4808532"/>
            <a:ext cx="1944216" cy="1867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Švietimo įstaigos</a:t>
            </a:r>
          </a:p>
        </p:txBody>
      </p:sp>
      <p:sp>
        <p:nvSpPr>
          <p:cNvPr id="74" name="Rectangle 73">
            <a:extLst>
              <a:ext uri="{FF2B5EF4-FFF2-40B4-BE49-F238E27FC236}">
                <a16:creationId xmlns:a16="http://schemas.microsoft.com/office/drawing/2014/main" id="{6BA1FD68-7BC3-4236-A28F-1942BBE36A92}"/>
              </a:ext>
            </a:extLst>
          </p:cNvPr>
          <p:cNvSpPr/>
          <p:nvPr/>
        </p:nvSpPr>
        <p:spPr>
          <a:xfrm>
            <a:off x="2769483" y="5047343"/>
            <a:ext cx="1938298" cy="9942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chemeClr val="tx1"/>
                </a:solidFill>
              </a:rPr>
              <a:t>Savivaldybės nustato specifinius poreikius, kurie atliepia švietimo ir mokymo plėtros </a:t>
            </a:r>
            <a:r>
              <a:rPr lang="en-GB" sz="1050" noProof="1">
                <a:solidFill>
                  <a:schemeClr val="tx1"/>
                </a:solidFill>
              </a:rPr>
              <a:t>bei</a:t>
            </a:r>
            <a:r>
              <a:rPr lang="lt-LT" sz="1050" noProof="1">
                <a:solidFill>
                  <a:schemeClr val="tx1"/>
                </a:solidFill>
              </a:rPr>
              <a:t> įgyvendinimo poreikius.</a:t>
            </a:r>
          </a:p>
        </p:txBody>
      </p:sp>
      <p:sp>
        <p:nvSpPr>
          <p:cNvPr id="43" name="TextBox 42">
            <a:extLst>
              <a:ext uri="{FF2B5EF4-FFF2-40B4-BE49-F238E27FC236}">
                <a16:creationId xmlns:a16="http://schemas.microsoft.com/office/drawing/2014/main" id="{42534A37-6FDA-4141-B1DC-09AE9F573FA9}"/>
              </a:ext>
            </a:extLst>
          </p:cNvPr>
          <p:cNvSpPr txBox="1"/>
          <p:nvPr/>
        </p:nvSpPr>
        <p:spPr>
          <a:xfrm>
            <a:off x="417168" y="3142565"/>
            <a:ext cx="2254227"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lt-LT" sz="1050">
                <a:cs typeface="Calibri"/>
              </a:rPr>
              <a:t>PKT finansavimas vykdomas ir tiesiogiai per mokyklas:</a:t>
            </a:r>
          </a:p>
        </p:txBody>
      </p:sp>
      <p:grpSp>
        <p:nvGrpSpPr>
          <p:cNvPr id="48" name="Group 47">
            <a:extLst>
              <a:ext uri="{FF2B5EF4-FFF2-40B4-BE49-F238E27FC236}">
                <a16:creationId xmlns:a16="http://schemas.microsoft.com/office/drawing/2014/main" id="{FF07D1DB-06B9-42B6-A2A8-A9D217BA3C3B}"/>
              </a:ext>
            </a:extLst>
          </p:cNvPr>
          <p:cNvGrpSpPr/>
          <p:nvPr/>
        </p:nvGrpSpPr>
        <p:grpSpPr>
          <a:xfrm>
            <a:off x="2843562" y="3170705"/>
            <a:ext cx="2927194" cy="486313"/>
            <a:chOff x="4388004" y="3763535"/>
            <a:chExt cx="2927194" cy="486313"/>
          </a:xfrm>
        </p:grpSpPr>
        <p:sp>
          <p:nvSpPr>
            <p:cNvPr id="54" name="Rectangle 53">
              <a:extLst>
                <a:ext uri="{FF2B5EF4-FFF2-40B4-BE49-F238E27FC236}">
                  <a16:creationId xmlns:a16="http://schemas.microsoft.com/office/drawing/2014/main" id="{FE218D09-60A4-4BE9-8E4D-42145B473697}"/>
                </a:ext>
              </a:extLst>
            </p:cNvPr>
            <p:cNvSpPr/>
            <p:nvPr/>
          </p:nvSpPr>
          <p:spPr>
            <a:xfrm>
              <a:off x="4388004" y="3763536"/>
              <a:ext cx="1260088" cy="479502"/>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050">
                  <a:solidFill>
                    <a:schemeClr val="tx1"/>
                  </a:solidFill>
                  <a:cs typeface="Calibri"/>
                </a:rPr>
                <a:t>Mokyklos</a:t>
              </a:r>
            </a:p>
          </p:txBody>
        </p:sp>
        <p:sp>
          <p:nvSpPr>
            <p:cNvPr id="58" name="Rectangle 57">
              <a:extLst>
                <a:ext uri="{FF2B5EF4-FFF2-40B4-BE49-F238E27FC236}">
                  <a16:creationId xmlns:a16="http://schemas.microsoft.com/office/drawing/2014/main" id="{9CC7F71A-E60A-4241-A53B-CD4B3B04571F}"/>
                </a:ext>
              </a:extLst>
            </p:cNvPr>
            <p:cNvSpPr/>
            <p:nvPr/>
          </p:nvSpPr>
          <p:spPr>
            <a:xfrm>
              <a:off x="6016080" y="3763535"/>
              <a:ext cx="1299118" cy="486313"/>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050">
                  <a:solidFill>
                    <a:schemeClr val="tx1"/>
                  </a:solidFill>
                  <a:cs typeface="Calibri"/>
                </a:rPr>
                <a:t>PKT teikėjai</a:t>
              </a:r>
            </a:p>
          </p:txBody>
        </p:sp>
        <p:sp>
          <p:nvSpPr>
            <p:cNvPr id="61" name="Isosceles Triangle 60">
              <a:extLst>
                <a:ext uri="{FF2B5EF4-FFF2-40B4-BE49-F238E27FC236}">
                  <a16:creationId xmlns:a16="http://schemas.microsoft.com/office/drawing/2014/main" id="{29BA332B-8519-4682-9B55-3909008DDD85}"/>
                </a:ext>
              </a:extLst>
            </p:cNvPr>
            <p:cNvSpPr/>
            <p:nvPr/>
          </p:nvSpPr>
          <p:spPr>
            <a:xfrm rot="5400000">
              <a:off x="5646203" y="3968280"/>
              <a:ext cx="371765" cy="10052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lt-LT" sz="1200">
                <a:solidFill>
                  <a:schemeClr val="tx1"/>
                </a:solidFill>
              </a:endParaRPr>
            </a:p>
          </p:txBody>
        </p:sp>
      </p:grpSp>
    </p:spTree>
    <p:extLst>
      <p:ext uri="{BB962C8B-B14F-4D97-AF65-F5344CB8AC3E}">
        <p14:creationId xmlns:p14="http://schemas.microsoft.com/office/powerpoint/2010/main" val="9683557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35DD2BD4-2C59-4687-96FB-15ADE570F9CB}"/>
              </a:ext>
            </a:extLst>
          </p:cNvPr>
          <p:cNvSpPr/>
          <p:nvPr/>
        </p:nvSpPr>
        <p:spPr>
          <a:xfrm>
            <a:off x="404162" y="41395"/>
            <a:ext cx="2052000" cy="266606"/>
          </a:xfrm>
          <a:prstGeom prst="parallelogram">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Estija</a:t>
            </a:r>
          </a:p>
        </p:txBody>
      </p:sp>
      <p:sp>
        <p:nvSpPr>
          <p:cNvPr id="5" name="Parallelogram 4">
            <a:extLst>
              <a:ext uri="{FF2B5EF4-FFF2-40B4-BE49-F238E27FC236}">
                <a16:creationId xmlns:a16="http://schemas.microsoft.com/office/drawing/2014/main" id="{247206C0-5D09-4092-9BF6-F83C998C8935}"/>
              </a:ext>
            </a:extLst>
          </p:cNvPr>
          <p:cNvSpPr/>
          <p:nvPr/>
        </p:nvSpPr>
        <p:spPr>
          <a:xfrm>
            <a:off x="2380131" y="41395"/>
            <a:ext cx="2052000" cy="266606"/>
          </a:xfrm>
          <a:prstGeom prst="parallelogram">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Suomija</a:t>
            </a:r>
          </a:p>
        </p:txBody>
      </p:sp>
      <p:sp>
        <p:nvSpPr>
          <p:cNvPr id="6" name="Parallelogram 5">
            <a:extLst>
              <a:ext uri="{FF2B5EF4-FFF2-40B4-BE49-F238E27FC236}">
                <a16:creationId xmlns:a16="http://schemas.microsoft.com/office/drawing/2014/main" id="{44DCF309-A576-4E02-BDDC-16E658D2E8F8}"/>
              </a:ext>
            </a:extLst>
          </p:cNvPr>
          <p:cNvSpPr/>
          <p:nvPr/>
        </p:nvSpPr>
        <p:spPr>
          <a:xfrm>
            <a:off x="4356100"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Nyderlandai</a:t>
            </a:r>
          </a:p>
        </p:txBody>
      </p:sp>
      <p:sp>
        <p:nvSpPr>
          <p:cNvPr id="7" name="Parallelogram 6">
            <a:extLst>
              <a:ext uri="{FF2B5EF4-FFF2-40B4-BE49-F238E27FC236}">
                <a16:creationId xmlns:a16="http://schemas.microsoft.com/office/drawing/2014/main" id="{49FE8141-7AC9-4210-81A4-44D00BED890C}"/>
              </a:ext>
            </a:extLst>
          </p:cNvPr>
          <p:cNvSpPr/>
          <p:nvPr/>
        </p:nvSpPr>
        <p:spPr>
          <a:xfrm>
            <a:off x="6332070"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Airija</a:t>
            </a:r>
          </a:p>
        </p:txBody>
      </p:sp>
      <p:sp>
        <p:nvSpPr>
          <p:cNvPr id="8" name="Title 1">
            <a:extLst>
              <a:ext uri="{FF2B5EF4-FFF2-40B4-BE49-F238E27FC236}">
                <a16:creationId xmlns:a16="http://schemas.microsoft.com/office/drawing/2014/main" id="{D4BA0322-774D-45E2-995A-B7FBA65EA31F}"/>
              </a:ext>
            </a:extLst>
          </p:cNvPr>
          <p:cNvSpPr>
            <a:spLocks noGrp="1"/>
          </p:cNvSpPr>
          <p:nvPr>
            <p:ph type="title"/>
          </p:nvPr>
        </p:nvSpPr>
        <p:spPr>
          <a:xfrm>
            <a:off x="395536" y="410596"/>
            <a:ext cx="8353177" cy="497454"/>
          </a:xfrm>
        </p:spPr>
        <p:txBody>
          <a:bodyPr lIns="0" tIns="45720" rIns="91440" bIns="45720" anchor="t">
            <a:normAutofit/>
          </a:bodyPr>
          <a:lstStyle/>
          <a:p>
            <a:pPr algn="just"/>
            <a:r>
              <a:rPr lang="lt-LT" sz="1300" dirty="0">
                <a:latin typeface="+mj-ea"/>
              </a:rPr>
              <a:t>Suomijos PKT sistema (</a:t>
            </a:r>
            <a:r>
              <a:rPr lang="en-GB" sz="1300" dirty="0">
                <a:latin typeface="+mj-ea"/>
              </a:rPr>
              <a:t>2 / 2)</a:t>
            </a:r>
            <a:endParaRPr lang="lt-LT" sz="1300" dirty="0"/>
          </a:p>
        </p:txBody>
      </p:sp>
      <p:grpSp>
        <p:nvGrpSpPr>
          <p:cNvPr id="21" name="Group 20">
            <a:extLst>
              <a:ext uri="{FF2B5EF4-FFF2-40B4-BE49-F238E27FC236}">
                <a16:creationId xmlns:a16="http://schemas.microsoft.com/office/drawing/2014/main" id="{E22705AF-C88B-4341-A23B-831D8B0F2B62}"/>
              </a:ext>
            </a:extLst>
          </p:cNvPr>
          <p:cNvGrpSpPr/>
          <p:nvPr/>
        </p:nvGrpSpPr>
        <p:grpSpPr>
          <a:xfrm>
            <a:off x="406686" y="2570924"/>
            <a:ext cx="8354911" cy="394293"/>
            <a:chOff x="272871" y="3027297"/>
            <a:chExt cx="8354911" cy="394293"/>
          </a:xfrm>
        </p:grpSpPr>
        <p:sp>
          <p:nvSpPr>
            <p:cNvPr id="19" name="Rectangle 18">
              <a:extLst>
                <a:ext uri="{FF2B5EF4-FFF2-40B4-BE49-F238E27FC236}">
                  <a16:creationId xmlns:a16="http://schemas.microsoft.com/office/drawing/2014/main" id="{6761DB2B-9A99-4B99-905C-3962E3DFE434}"/>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Stebėsena</a:t>
              </a:r>
            </a:p>
          </p:txBody>
        </p:sp>
        <p:cxnSp>
          <p:nvCxnSpPr>
            <p:cNvPr id="20" name="Straight Arrow Connector 19">
              <a:extLst>
                <a:ext uri="{FF2B5EF4-FFF2-40B4-BE49-F238E27FC236}">
                  <a16:creationId xmlns:a16="http://schemas.microsoft.com/office/drawing/2014/main" id="{CB55DD8A-999B-47AE-BE89-CFB3CD0A8F3C}"/>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37BC4D6-76DB-40CD-AEC7-B336BDE348CD}"/>
              </a:ext>
            </a:extLst>
          </p:cNvPr>
          <p:cNvGrpSpPr/>
          <p:nvPr/>
        </p:nvGrpSpPr>
        <p:grpSpPr>
          <a:xfrm>
            <a:off x="400837" y="936300"/>
            <a:ext cx="8349608" cy="394293"/>
            <a:chOff x="278174" y="3027297"/>
            <a:chExt cx="8349608" cy="394293"/>
          </a:xfrm>
        </p:grpSpPr>
        <p:sp>
          <p:nvSpPr>
            <p:cNvPr id="26" name="Rectangle 25">
              <a:extLst>
                <a:ext uri="{FF2B5EF4-FFF2-40B4-BE49-F238E27FC236}">
                  <a16:creationId xmlns:a16="http://schemas.microsoft.com/office/drawing/2014/main" id="{75909F3D-47DF-49E5-B8AD-69EEF5DB3147}"/>
                </a:ext>
              </a:extLst>
            </p:cNvPr>
            <p:cNvSpPr/>
            <p:nvPr/>
          </p:nvSpPr>
          <p:spPr>
            <a:xfrm>
              <a:off x="278174" y="3027297"/>
              <a:ext cx="2819367"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Programų rengimas ir vykdymas</a:t>
              </a:r>
            </a:p>
          </p:txBody>
        </p:sp>
        <p:cxnSp>
          <p:nvCxnSpPr>
            <p:cNvPr id="27" name="Straight Arrow Connector 26">
              <a:extLst>
                <a:ext uri="{FF2B5EF4-FFF2-40B4-BE49-F238E27FC236}">
                  <a16:creationId xmlns:a16="http://schemas.microsoft.com/office/drawing/2014/main" id="{78D7AFB1-BA5C-4A1B-9045-68AB667DBE9B}"/>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84DF5076-1DA5-4282-925D-B07553CA42E4}"/>
              </a:ext>
            </a:extLst>
          </p:cNvPr>
          <p:cNvGrpSpPr/>
          <p:nvPr/>
        </p:nvGrpSpPr>
        <p:grpSpPr>
          <a:xfrm>
            <a:off x="409937" y="4336920"/>
            <a:ext cx="8354911" cy="394293"/>
            <a:chOff x="272871" y="3027297"/>
            <a:chExt cx="8354911" cy="394293"/>
          </a:xfrm>
        </p:grpSpPr>
        <p:sp>
          <p:nvSpPr>
            <p:cNvPr id="50" name="Rectangle 49">
              <a:extLst>
                <a:ext uri="{FF2B5EF4-FFF2-40B4-BE49-F238E27FC236}">
                  <a16:creationId xmlns:a16="http://schemas.microsoft.com/office/drawing/2014/main" id="{DBF40C3F-D451-490C-B81C-F85C1737C158}"/>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Kokybės užtikrinimas</a:t>
              </a:r>
            </a:p>
          </p:txBody>
        </p:sp>
        <p:cxnSp>
          <p:nvCxnSpPr>
            <p:cNvPr id="51" name="Straight Arrow Connector 50">
              <a:extLst>
                <a:ext uri="{FF2B5EF4-FFF2-40B4-BE49-F238E27FC236}">
                  <a16:creationId xmlns:a16="http://schemas.microsoft.com/office/drawing/2014/main" id="{7479AB89-6B83-46C1-96CB-2EA50C2AC17B}"/>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53" name="TextBox 52">
            <a:extLst>
              <a:ext uri="{FF2B5EF4-FFF2-40B4-BE49-F238E27FC236}">
                <a16:creationId xmlns:a16="http://schemas.microsoft.com/office/drawing/2014/main" id="{A347CF0E-C2E2-44BD-81B2-6E6C77E718A9}"/>
              </a:ext>
            </a:extLst>
          </p:cNvPr>
          <p:cNvSpPr txBox="1"/>
          <p:nvPr/>
        </p:nvSpPr>
        <p:spPr>
          <a:xfrm>
            <a:off x="651518" y="1324979"/>
            <a:ext cx="3449124"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lt" sz="1050">
                <a:cs typeface="Calibri"/>
              </a:rPr>
              <a:t>PKT programų rengėjai ir teikėjai:</a:t>
            </a:r>
            <a:endParaRPr lang="en-US" sz="1050">
              <a:cs typeface="Calibri"/>
            </a:endParaRPr>
          </a:p>
          <a:p>
            <a:pPr algn="just"/>
            <a:endParaRPr lang="lt" sz="1050">
              <a:cs typeface="Calibri"/>
            </a:endParaRPr>
          </a:p>
          <a:p>
            <a:pPr marL="171450" indent="-171450" algn="just">
              <a:buClr>
                <a:schemeClr val="accent6"/>
              </a:buClr>
              <a:buFont typeface="Arial" panose="020B0604020202020204" pitchFamily="34" charset="0"/>
              <a:buChar char="•"/>
            </a:pPr>
            <a:r>
              <a:rPr lang="lt-LT" sz="1050">
                <a:cs typeface="Calibri"/>
              </a:rPr>
              <a:t>Aukštosios mokyklos</a:t>
            </a:r>
          </a:p>
          <a:p>
            <a:pPr marL="171450" indent="-171450" algn="just">
              <a:buClr>
                <a:schemeClr val="accent6"/>
              </a:buClr>
              <a:buFont typeface="Arial" panose="020B0604020202020204" pitchFamily="34" charset="0"/>
              <a:buChar char="•"/>
            </a:pPr>
            <a:r>
              <a:rPr lang="lt-LT" sz="1050">
                <a:cs typeface="Calibri"/>
              </a:rPr>
              <a:t>Profesinio mokytojų rengimo kolegijos</a:t>
            </a:r>
          </a:p>
          <a:p>
            <a:pPr marL="171450" indent="-171450" algn="just">
              <a:buClr>
                <a:schemeClr val="accent6"/>
              </a:buClr>
              <a:buFont typeface="Arial" panose="020B0604020202020204" pitchFamily="34" charset="0"/>
              <a:buChar char="•"/>
            </a:pPr>
            <a:r>
              <a:rPr lang="lt-LT" sz="1050">
                <a:cs typeface="Calibri"/>
              </a:rPr>
              <a:t>Privačios organizacijos, registruotos organizacijos ar fondai</a:t>
            </a:r>
          </a:p>
          <a:p>
            <a:pPr marL="171450" indent="-171450" algn="just">
              <a:buClr>
                <a:schemeClr val="accent6"/>
              </a:buClr>
              <a:buFont typeface="Arial" panose="020B0604020202020204" pitchFamily="34" charset="0"/>
              <a:buChar char="•"/>
            </a:pPr>
            <a:r>
              <a:rPr lang="lt-LT" sz="1050">
                <a:cs typeface="Calibri"/>
              </a:rPr>
              <a:t>Savivaldybės</a:t>
            </a:r>
          </a:p>
          <a:p>
            <a:pPr marL="171450" indent="-171450" algn="just">
              <a:buClr>
                <a:schemeClr val="accent6"/>
              </a:buClr>
              <a:buFont typeface="Arial" panose="020B0604020202020204" pitchFamily="34" charset="0"/>
              <a:buChar char="•"/>
            </a:pPr>
            <a:r>
              <a:rPr lang="lt-LT" sz="1050">
                <a:cs typeface="Calibri"/>
              </a:rPr>
              <a:t>Mokyklos</a:t>
            </a:r>
          </a:p>
        </p:txBody>
      </p:sp>
      <p:sp>
        <p:nvSpPr>
          <p:cNvPr id="2" name="TextBox 1">
            <a:extLst>
              <a:ext uri="{FF2B5EF4-FFF2-40B4-BE49-F238E27FC236}">
                <a16:creationId xmlns:a16="http://schemas.microsoft.com/office/drawing/2014/main" id="{CD8CF473-A24A-4CF8-9BAD-D2F5AB51982D}"/>
              </a:ext>
            </a:extLst>
          </p:cNvPr>
          <p:cNvSpPr txBox="1"/>
          <p:nvPr/>
        </p:nvSpPr>
        <p:spPr>
          <a:xfrm>
            <a:off x="4356660" y="1328108"/>
            <a:ext cx="3687302" cy="12234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buClr>
                <a:srgbClr val="FF9900"/>
              </a:buClr>
            </a:pPr>
            <a:r>
              <a:rPr lang="lt-LT" sz="1050"/>
              <a:t>Kai kurios savivaldybės organizuoja didelius, įvairioms savivaldybės mokykloms skirtus PKT renginius, o kitos palieka mokykloms galimybę pačioms vykdyti PKT programas. </a:t>
            </a:r>
          </a:p>
          <a:p>
            <a:pPr algn="just">
              <a:buClr>
                <a:srgbClr val="FF9900"/>
              </a:buClr>
            </a:pPr>
            <a:endParaRPr lang="lt-LT" sz="1050"/>
          </a:p>
          <a:p>
            <a:pPr algn="just">
              <a:buClr>
                <a:srgbClr val="FF9900"/>
              </a:buClr>
            </a:pPr>
            <a:r>
              <a:rPr lang="lt-LT" sz="1050"/>
              <a:t>Siekiama, kad Suomijoje nuo atskirų, trumpalaikių PKT veiklų būtų pereinama prie ilgesnių programų, kurių poveikis yra tvaresnis.</a:t>
            </a:r>
          </a:p>
        </p:txBody>
      </p:sp>
      <p:grpSp>
        <p:nvGrpSpPr>
          <p:cNvPr id="52" name="Group 51">
            <a:extLst>
              <a:ext uri="{FF2B5EF4-FFF2-40B4-BE49-F238E27FC236}">
                <a16:creationId xmlns:a16="http://schemas.microsoft.com/office/drawing/2014/main" id="{96624199-4701-4C79-8154-921E7CA09689}"/>
              </a:ext>
            </a:extLst>
          </p:cNvPr>
          <p:cNvGrpSpPr/>
          <p:nvPr/>
        </p:nvGrpSpPr>
        <p:grpSpPr>
          <a:xfrm>
            <a:off x="483483" y="3122563"/>
            <a:ext cx="3617159" cy="1113673"/>
            <a:chOff x="4763766" y="3175602"/>
            <a:chExt cx="3617159" cy="1113673"/>
          </a:xfrm>
        </p:grpSpPr>
        <p:sp>
          <p:nvSpPr>
            <p:cNvPr id="54" name="Rectangle 53">
              <a:extLst>
                <a:ext uri="{FF2B5EF4-FFF2-40B4-BE49-F238E27FC236}">
                  <a16:creationId xmlns:a16="http://schemas.microsoft.com/office/drawing/2014/main" id="{D67A3999-F853-4978-9A88-F0FE42E9F15B}"/>
                </a:ext>
              </a:extLst>
            </p:cNvPr>
            <p:cNvSpPr/>
            <p:nvPr/>
          </p:nvSpPr>
          <p:spPr>
            <a:xfrm>
              <a:off x="4765364" y="3175602"/>
              <a:ext cx="3615561" cy="19736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Išorinė</a:t>
              </a:r>
            </a:p>
          </p:txBody>
        </p:sp>
        <p:sp>
          <p:nvSpPr>
            <p:cNvPr id="56" name="Rectangle 55">
              <a:extLst>
                <a:ext uri="{FF2B5EF4-FFF2-40B4-BE49-F238E27FC236}">
                  <a16:creationId xmlns:a16="http://schemas.microsoft.com/office/drawing/2014/main" id="{A564C084-E763-420B-8F8C-C44512C660C1}"/>
                </a:ext>
              </a:extLst>
            </p:cNvPr>
            <p:cNvSpPr/>
            <p:nvPr/>
          </p:nvSpPr>
          <p:spPr>
            <a:xfrm>
              <a:off x="4763766" y="3429618"/>
              <a:ext cx="3615561" cy="8596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rgbClr val="000000"/>
                  </a:solidFill>
                  <a:ea typeface="+mn-lt"/>
                  <a:cs typeface="+mn-lt"/>
                </a:rPr>
                <a:t>PKT buvo įtrauktas į reguliariai šalyje vykdomą tyrimą. Duomenys yra renkami kas 3 m. nacionaliniu lygmeniu.</a:t>
              </a:r>
            </a:p>
          </p:txBody>
        </p:sp>
      </p:grpSp>
      <p:sp>
        <p:nvSpPr>
          <p:cNvPr id="28" name="TextBox 27">
            <a:extLst>
              <a:ext uri="{FF2B5EF4-FFF2-40B4-BE49-F238E27FC236}">
                <a16:creationId xmlns:a16="http://schemas.microsoft.com/office/drawing/2014/main" id="{8D157A12-84EA-394F-8B5B-2F8EAB396662}"/>
              </a:ext>
            </a:extLst>
          </p:cNvPr>
          <p:cNvSpPr txBox="1"/>
          <p:nvPr/>
        </p:nvSpPr>
        <p:spPr>
          <a:xfrm>
            <a:off x="416439" y="4831897"/>
            <a:ext cx="8226817" cy="12234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lt-LT"/>
            </a:defPPr>
            <a:lvl1pPr algn="just">
              <a:buClr>
                <a:srgbClr val="FF9900"/>
              </a:buClr>
              <a:defRPr sz="1050"/>
            </a:lvl1pPr>
          </a:lstStyle>
          <a:p>
            <a:pPr marL="171450" indent="-171450">
              <a:buClr>
                <a:schemeClr val="accent6"/>
              </a:buClr>
              <a:buFont typeface="Arial" panose="020B0604020202020204" pitchFamily="34" charset="0"/>
              <a:buChar char="•"/>
            </a:pPr>
            <a:r>
              <a:rPr lang="lt-LT" dirty="0">
                <a:cs typeface="Calibri"/>
              </a:rPr>
              <a:t>PKT teikėjai yra atsakingi už savo teikiamų paslaugų kokybę. </a:t>
            </a:r>
          </a:p>
          <a:p>
            <a:pPr marL="171450" indent="-171450">
              <a:buClr>
                <a:schemeClr val="accent6"/>
              </a:buClr>
              <a:buFont typeface="Arial" panose="020B0604020202020204" pitchFamily="34" charset="0"/>
              <a:buChar char="•"/>
            </a:pPr>
            <a:r>
              <a:rPr lang="lt-LT" dirty="0"/>
              <a:t>PKT </a:t>
            </a:r>
            <a:r>
              <a:rPr lang="lt-LT" dirty="0">
                <a:cs typeface="Calibri"/>
              </a:rPr>
              <a:t>programoms</a:t>
            </a:r>
            <a:r>
              <a:rPr lang="lt-LT" dirty="0"/>
              <a:t>, finansuojamoms Suomijos nacionalinės švietimo agentūros, taikomi papildomi kokybės užtikrinimo kriterijai. </a:t>
            </a:r>
          </a:p>
          <a:p>
            <a:pPr marL="171450" indent="-171450">
              <a:buClr>
                <a:schemeClr val="accent6"/>
              </a:buClr>
              <a:buFont typeface="Arial" panose="020B0604020202020204" pitchFamily="34" charset="0"/>
              <a:buChar char="•"/>
            </a:pPr>
            <a:r>
              <a:rPr lang="lt-LT" dirty="0">
                <a:cs typeface="Calibri"/>
              </a:rPr>
              <a:t>Suomijos švietimo vertinimo centras švietimo ir mokymo teikėjams bei aukštojo mokslo institucijoms teikia pagalbą, pavyzdžiui, organizuodamas renginius apie kokybės valdymą</a:t>
            </a:r>
            <a:endParaRPr lang="en-GB" dirty="0">
              <a:cs typeface="Calibri"/>
            </a:endParaRPr>
          </a:p>
          <a:p>
            <a:pPr marL="171450" indent="-171450">
              <a:buClr>
                <a:schemeClr val="accent6"/>
              </a:buClr>
              <a:buFont typeface="Arial" panose="020B0604020202020204" pitchFamily="34" charset="0"/>
              <a:buChar char="•"/>
            </a:pPr>
            <a:endParaRPr lang="lt-LT" dirty="0"/>
          </a:p>
          <a:p>
            <a:r>
              <a:rPr lang="lt-LT" dirty="0"/>
              <a:t>Suomijoje veikia daugybė PKT paslaugų teikėjų, dėl ko Suomijos švietimo sistemos atstovai įvertino PKT kokybės kontrolę kaip nepakankamai sistemingą, fragmentišką. </a:t>
            </a:r>
          </a:p>
        </p:txBody>
      </p:sp>
    </p:spTree>
    <p:extLst>
      <p:ext uri="{BB962C8B-B14F-4D97-AF65-F5344CB8AC3E}">
        <p14:creationId xmlns:p14="http://schemas.microsoft.com/office/powerpoint/2010/main" val="34007837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35DD2BD4-2C59-4687-96FB-15ADE570F9CB}"/>
              </a:ext>
            </a:extLst>
          </p:cNvPr>
          <p:cNvSpPr/>
          <p:nvPr/>
        </p:nvSpPr>
        <p:spPr>
          <a:xfrm>
            <a:off x="404162"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Estija</a:t>
            </a:r>
          </a:p>
        </p:txBody>
      </p:sp>
      <p:sp>
        <p:nvSpPr>
          <p:cNvPr id="5" name="Parallelogram 4">
            <a:extLst>
              <a:ext uri="{FF2B5EF4-FFF2-40B4-BE49-F238E27FC236}">
                <a16:creationId xmlns:a16="http://schemas.microsoft.com/office/drawing/2014/main" id="{247206C0-5D09-4092-9BF6-F83C998C8935}"/>
              </a:ext>
            </a:extLst>
          </p:cNvPr>
          <p:cNvSpPr/>
          <p:nvPr/>
        </p:nvSpPr>
        <p:spPr>
          <a:xfrm>
            <a:off x="2380131"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Suomija</a:t>
            </a:r>
          </a:p>
        </p:txBody>
      </p:sp>
      <p:sp>
        <p:nvSpPr>
          <p:cNvPr id="6" name="Parallelogram 5">
            <a:extLst>
              <a:ext uri="{FF2B5EF4-FFF2-40B4-BE49-F238E27FC236}">
                <a16:creationId xmlns:a16="http://schemas.microsoft.com/office/drawing/2014/main" id="{44DCF309-A576-4E02-BDDC-16E658D2E8F8}"/>
              </a:ext>
            </a:extLst>
          </p:cNvPr>
          <p:cNvSpPr/>
          <p:nvPr/>
        </p:nvSpPr>
        <p:spPr>
          <a:xfrm>
            <a:off x="4356100" y="41395"/>
            <a:ext cx="2052000" cy="266606"/>
          </a:xfrm>
          <a:prstGeom prst="parallelogram">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Nyderlandai</a:t>
            </a:r>
          </a:p>
        </p:txBody>
      </p:sp>
      <p:sp>
        <p:nvSpPr>
          <p:cNvPr id="7" name="Parallelogram 6">
            <a:extLst>
              <a:ext uri="{FF2B5EF4-FFF2-40B4-BE49-F238E27FC236}">
                <a16:creationId xmlns:a16="http://schemas.microsoft.com/office/drawing/2014/main" id="{49FE8141-7AC9-4210-81A4-44D00BED890C}"/>
              </a:ext>
            </a:extLst>
          </p:cNvPr>
          <p:cNvSpPr/>
          <p:nvPr/>
        </p:nvSpPr>
        <p:spPr>
          <a:xfrm>
            <a:off x="6332070"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Airija</a:t>
            </a:r>
          </a:p>
        </p:txBody>
      </p:sp>
      <p:grpSp>
        <p:nvGrpSpPr>
          <p:cNvPr id="21" name="Group 20">
            <a:extLst>
              <a:ext uri="{FF2B5EF4-FFF2-40B4-BE49-F238E27FC236}">
                <a16:creationId xmlns:a16="http://schemas.microsoft.com/office/drawing/2014/main" id="{E22705AF-C88B-4341-A23B-831D8B0F2B62}"/>
              </a:ext>
            </a:extLst>
          </p:cNvPr>
          <p:cNvGrpSpPr/>
          <p:nvPr/>
        </p:nvGrpSpPr>
        <p:grpSpPr>
          <a:xfrm>
            <a:off x="406686" y="2190955"/>
            <a:ext cx="8354911" cy="394293"/>
            <a:chOff x="272871" y="3027297"/>
            <a:chExt cx="8354911" cy="394293"/>
          </a:xfrm>
        </p:grpSpPr>
        <p:sp>
          <p:nvSpPr>
            <p:cNvPr id="19" name="Rectangle 18">
              <a:extLst>
                <a:ext uri="{FF2B5EF4-FFF2-40B4-BE49-F238E27FC236}">
                  <a16:creationId xmlns:a16="http://schemas.microsoft.com/office/drawing/2014/main" id="{6761DB2B-9A99-4B99-905C-3962E3DFE434}"/>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Finansavimas</a:t>
              </a:r>
            </a:p>
          </p:txBody>
        </p:sp>
        <p:cxnSp>
          <p:nvCxnSpPr>
            <p:cNvPr id="20" name="Straight Arrow Connector 19">
              <a:extLst>
                <a:ext uri="{FF2B5EF4-FFF2-40B4-BE49-F238E27FC236}">
                  <a16:creationId xmlns:a16="http://schemas.microsoft.com/office/drawing/2014/main" id="{CB55DD8A-999B-47AE-BE89-CFB3CD0A8F3C}"/>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37BC4D6-76DB-40CD-AEC7-B336BDE348CD}"/>
              </a:ext>
            </a:extLst>
          </p:cNvPr>
          <p:cNvGrpSpPr/>
          <p:nvPr/>
        </p:nvGrpSpPr>
        <p:grpSpPr>
          <a:xfrm>
            <a:off x="395534" y="863959"/>
            <a:ext cx="8354911" cy="394293"/>
            <a:chOff x="272871" y="3027297"/>
            <a:chExt cx="8354911" cy="394293"/>
          </a:xfrm>
        </p:grpSpPr>
        <p:sp>
          <p:nvSpPr>
            <p:cNvPr id="26" name="Rectangle 25">
              <a:extLst>
                <a:ext uri="{FF2B5EF4-FFF2-40B4-BE49-F238E27FC236}">
                  <a16:creationId xmlns:a16="http://schemas.microsoft.com/office/drawing/2014/main" id="{75909F3D-47DF-49E5-B8AD-69EEF5DB3147}"/>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Reglamentavimas</a:t>
              </a:r>
            </a:p>
          </p:txBody>
        </p:sp>
        <p:cxnSp>
          <p:nvCxnSpPr>
            <p:cNvPr id="27" name="Straight Arrow Connector 26">
              <a:extLst>
                <a:ext uri="{FF2B5EF4-FFF2-40B4-BE49-F238E27FC236}">
                  <a16:creationId xmlns:a16="http://schemas.microsoft.com/office/drawing/2014/main" id="{78D7AFB1-BA5C-4A1B-9045-68AB667DBE9B}"/>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17" name="TextBox 16">
            <a:extLst>
              <a:ext uri="{FF2B5EF4-FFF2-40B4-BE49-F238E27FC236}">
                <a16:creationId xmlns:a16="http://schemas.microsoft.com/office/drawing/2014/main" id="{3943F60A-B91C-4B98-9E64-78FCCC2F3D54}"/>
              </a:ext>
            </a:extLst>
          </p:cNvPr>
          <p:cNvSpPr txBox="1"/>
          <p:nvPr/>
        </p:nvSpPr>
        <p:spPr>
          <a:xfrm>
            <a:off x="400189" y="1401561"/>
            <a:ext cx="7781785"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lt-LT" sz="1050"/>
              <a:t>Nyderlanduose pedagogams nėra įstatymuose nustatytos pareigos dalyvauti PKT mokymuose – nėra numatyta PKT apimtis ir turinys</a:t>
            </a:r>
          </a:p>
        </p:txBody>
      </p:sp>
      <p:grpSp>
        <p:nvGrpSpPr>
          <p:cNvPr id="35" name="Group 34">
            <a:extLst>
              <a:ext uri="{FF2B5EF4-FFF2-40B4-BE49-F238E27FC236}">
                <a16:creationId xmlns:a16="http://schemas.microsoft.com/office/drawing/2014/main" id="{58A120A3-C995-4456-8935-37B9EF9F8C61}"/>
              </a:ext>
            </a:extLst>
          </p:cNvPr>
          <p:cNvGrpSpPr/>
          <p:nvPr/>
        </p:nvGrpSpPr>
        <p:grpSpPr>
          <a:xfrm>
            <a:off x="407020" y="1918010"/>
            <a:ext cx="8207295" cy="415498"/>
            <a:chOff x="440474" y="2575931"/>
            <a:chExt cx="8207295" cy="415498"/>
          </a:xfrm>
        </p:grpSpPr>
        <p:sp>
          <p:nvSpPr>
            <p:cNvPr id="33" name="TextBox 32">
              <a:extLst>
                <a:ext uri="{FF2B5EF4-FFF2-40B4-BE49-F238E27FC236}">
                  <a16:creationId xmlns:a16="http://schemas.microsoft.com/office/drawing/2014/main" id="{329DBB42-0C2E-44CE-AEBF-0E418ED6416A}"/>
                </a:ext>
              </a:extLst>
            </p:cNvPr>
            <p:cNvSpPr txBox="1"/>
            <p:nvPr/>
          </p:nvSpPr>
          <p:spPr>
            <a:xfrm>
              <a:off x="440474" y="2575932"/>
              <a:ext cx="2163336"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lt-LT" sz="1050">
                  <a:ea typeface="+mn-lt"/>
                  <a:cs typeface="+mn-lt"/>
                </a:rPr>
                <a:t>Švietimo profesijų įstatymas</a:t>
              </a:r>
            </a:p>
          </p:txBody>
        </p:sp>
        <p:sp>
          <p:nvSpPr>
            <p:cNvPr id="34" name="TextBox 33">
              <a:extLst>
                <a:ext uri="{FF2B5EF4-FFF2-40B4-BE49-F238E27FC236}">
                  <a16:creationId xmlns:a16="http://schemas.microsoft.com/office/drawing/2014/main" id="{076A2663-7BC0-48F1-BD18-AA10EBD22B10}"/>
                </a:ext>
              </a:extLst>
            </p:cNvPr>
            <p:cNvSpPr txBox="1"/>
            <p:nvPr/>
          </p:nvSpPr>
          <p:spPr>
            <a:xfrm>
              <a:off x="2748774" y="2575931"/>
              <a:ext cx="5898995"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lt-LT" sz="1050">
                  <a:cs typeface="Calibri"/>
                </a:rPr>
                <a:t>Mokyklos privalo registruoti kiekvieno pedagogo kompetencijas, nustatydamos darbdavio ir mokytojo susitarimus dėl PKT. Tai leidžia Vyriausybei užtikrinti švietimo kokybę.</a:t>
              </a:r>
            </a:p>
          </p:txBody>
        </p:sp>
      </p:grpSp>
      <p:sp>
        <p:nvSpPr>
          <p:cNvPr id="38" name="TextBox 37">
            <a:extLst>
              <a:ext uri="{FF2B5EF4-FFF2-40B4-BE49-F238E27FC236}">
                <a16:creationId xmlns:a16="http://schemas.microsoft.com/office/drawing/2014/main" id="{787DCCBB-04AD-45F3-814A-F0BE45E2CFE9}"/>
              </a:ext>
            </a:extLst>
          </p:cNvPr>
          <p:cNvSpPr txBox="1"/>
          <p:nvPr/>
        </p:nvSpPr>
        <p:spPr>
          <a:xfrm>
            <a:off x="407019" y="2698595"/>
            <a:ext cx="7011328"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lt-LT" sz="1050">
                <a:cs typeface="Calibri"/>
              </a:rPr>
              <a:t>Akredituotos kolegijos ir universitetai, teikiantys PKT mokymus, yra finansuojami Švietimo, kultūros ir mokslo ministerijos.</a:t>
            </a:r>
          </a:p>
        </p:txBody>
      </p:sp>
      <p:grpSp>
        <p:nvGrpSpPr>
          <p:cNvPr id="49" name="Group 48">
            <a:extLst>
              <a:ext uri="{FF2B5EF4-FFF2-40B4-BE49-F238E27FC236}">
                <a16:creationId xmlns:a16="http://schemas.microsoft.com/office/drawing/2014/main" id="{84DF5076-1DA5-4282-925D-B07553CA42E4}"/>
              </a:ext>
            </a:extLst>
          </p:cNvPr>
          <p:cNvGrpSpPr/>
          <p:nvPr/>
        </p:nvGrpSpPr>
        <p:grpSpPr>
          <a:xfrm>
            <a:off x="373231" y="3469107"/>
            <a:ext cx="8354911" cy="394293"/>
            <a:chOff x="272871" y="3027297"/>
            <a:chExt cx="8354911" cy="394293"/>
          </a:xfrm>
        </p:grpSpPr>
        <p:sp>
          <p:nvSpPr>
            <p:cNvPr id="50" name="Rectangle 49">
              <a:extLst>
                <a:ext uri="{FF2B5EF4-FFF2-40B4-BE49-F238E27FC236}">
                  <a16:creationId xmlns:a16="http://schemas.microsoft.com/office/drawing/2014/main" id="{DBF40C3F-D451-490C-B81C-F85C1737C158}"/>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Bendradarbiavimas</a:t>
              </a:r>
            </a:p>
          </p:txBody>
        </p:sp>
        <p:cxnSp>
          <p:nvCxnSpPr>
            <p:cNvPr id="51" name="Straight Arrow Connector 50">
              <a:extLst>
                <a:ext uri="{FF2B5EF4-FFF2-40B4-BE49-F238E27FC236}">
                  <a16:creationId xmlns:a16="http://schemas.microsoft.com/office/drawing/2014/main" id="{7479AB89-6B83-46C1-96CB-2EA50C2AC17B}"/>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53" name="TextBox 52">
            <a:extLst>
              <a:ext uri="{FF2B5EF4-FFF2-40B4-BE49-F238E27FC236}">
                <a16:creationId xmlns:a16="http://schemas.microsoft.com/office/drawing/2014/main" id="{A347CF0E-C2E2-44BD-81B2-6E6C77E718A9}"/>
              </a:ext>
            </a:extLst>
          </p:cNvPr>
          <p:cNvSpPr txBox="1"/>
          <p:nvPr/>
        </p:nvSpPr>
        <p:spPr>
          <a:xfrm>
            <a:off x="377887" y="3867320"/>
            <a:ext cx="8348400" cy="5770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indent="-285750">
              <a:buClr>
                <a:schemeClr val="accent6"/>
              </a:buClr>
              <a:buFont typeface="Arial" panose="020B0604020202020204" pitchFamily="34" charset="0"/>
              <a:buChar char="•"/>
            </a:pPr>
            <a:r>
              <a:rPr lang="lt-LT" sz="1050" dirty="0">
                <a:cs typeface="Calibri"/>
              </a:rPr>
              <a:t>Aukštosios mokyklos bendradarbiauja su mokyklomis nustatant pedagogų PKT poreikius</a:t>
            </a:r>
          </a:p>
          <a:p>
            <a:pPr indent="-285750">
              <a:buClr>
                <a:schemeClr val="accent6"/>
              </a:buClr>
              <a:buFont typeface="Arial" panose="020B0604020202020204" pitchFamily="34" charset="0"/>
              <a:buChar char="•"/>
            </a:pPr>
            <a:r>
              <a:rPr lang="lt-LT" sz="1050" dirty="0">
                <a:cs typeface="Calibri"/>
              </a:rPr>
              <a:t>Aukštosios mokyklos organizuodamos PKT veiklas kartais bendradarbiauja su mokyklų konsultavimo tarnybomis, nacionaliniais švietimo konsultavimo centrais ar švietimo sistemos ekspertais</a:t>
            </a:r>
          </a:p>
        </p:txBody>
      </p:sp>
      <p:grpSp>
        <p:nvGrpSpPr>
          <p:cNvPr id="55" name="Group 54">
            <a:extLst>
              <a:ext uri="{FF2B5EF4-FFF2-40B4-BE49-F238E27FC236}">
                <a16:creationId xmlns:a16="http://schemas.microsoft.com/office/drawing/2014/main" id="{5B2FD58A-EAAC-43F0-8CA6-AA65447DAAD0}"/>
              </a:ext>
            </a:extLst>
          </p:cNvPr>
          <p:cNvGrpSpPr/>
          <p:nvPr/>
        </p:nvGrpSpPr>
        <p:grpSpPr>
          <a:xfrm>
            <a:off x="417713" y="4610467"/>
            <a:ext cx="8354911" cy="265442"/>
            <a:chOff x="272871" y="3171165"/>
            <a:chExt cx="8354911" cy="219800"/>
          </a:xfrm>
        </p:grpSpPr>
        <p:sp>
          <p:nvSpPr>
            <p:cNvPr id="56" name="Rectangle 55">
              <a:extLst>
                <a:ext uri="{FF2B5EF4-FFF2-40B4-BE49-F238E27FC236}">
                  <a16:creationId xmlns:a16="http://schemas.microsoft.com/office/drawing/2014/main" id="{99A6280F-9012-4AE6-831B-39CCCB519AE5}"/>
                </a:ext>
              </a:extLst>
            </p:cNvPr>
            <p:cNvSpPr/>
            <p:nvPr/>
          </p:nvSpPr>
          <p:spPr>
            <a:xfrm>
              <a:off x="272871" y="3171165"/>
              <a:ext cx="1944216" cy="1788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dirty="0">
                  <a:solidFill>
                    <a:schemeClr val="tx1"/>
                  </a:solidFill>
                </a:rPr>
                <a:t>PKT poreikių vertinimas</a:t>
              </a:r>
            </a:p>
          </p:txBody>
        </p:sp>
        <p:cxnSp>
          <p:nvCxnSpPr>
            <p:cNvPr id="57" name="Straight Arrow Connector 56">
              <a:extLst>
                <a:ext uri="{FF2B5EF4-FFF2-40B4-BE49-F238E27FC236}">
                  <a16:creationId xmlns:a16="http://schemas.microsoft.com/office/drawing/2014/main" id="{2E7D0B68-8DDA-4071-8C8E-E619D7F3F1CF}"/>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60" name="Rectangle 59">
            <a:extLst>
              <a:ext uri="{FF2B5EF4-FFF2-40B4-BE49-F238E27FC236}">
                <a16:creationId xmlns:a16="http://schemas.microsoft.com/office/drawing/2014/main" id="{BCE3AAE7-D6B4-43D1-B29C-1016ADA97EB2}"/>
              </a:ext>
            </a:extLst>
          </p:cNvPr>
          <p:cNvSpPr/>
          <p:nvPr/>
        </p:nvSpPr>
        <p:spPr>
          <a:xfrm>
            <a:off x="437345" y="4945174"/>
            <a:ext cx="2225928" cy="22553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Nacionaliniai ir regioniniai</a:t>
            </a:r>
          </a:p>
        </p:txBody>
      </p:sp>
      <p:sp>
        <p:nvSpPr>
          <p:cNvPr id="62" name="Rectangle 61">
            <a:extLst>
              <a:ext uri="{FF2B5EF4-FFF2-40B4-BE49-F238E27FC236}">
                <a16:creationId xmlns:a16="http://schemas.microsoft.com/office/drawing/2014/main" id="{AE0E76A9-A998-4725-8A2E-B6F1E5CD3A22}"/>
              </a:ext>
            </a:extLst>
          </p:cNvPr>
          <p:cNvSpPr/>
          <p:nvPr/>
        </p:nvSpPr>
        <p:spPr>
          <a:xfrm>
            <a:off x="6848853" y="4939164"/>
            <a:ext cx="1944216" cy="22553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Pedagogų</a:t>
            </a:r>
          </a:p>
        </p:txBody>
      </p:sp>
      <p:sp>
        <p:nvSpPr>
          <p:cNvPr id="64" name="Rectangle 63">
            <a:extLst>
              <a:ext uri="{FF2B5EF4-FFF2-40B4-BE49-F238E27FC236}">
                <a16:creationId xmlns:a16="http://schemas.microsoft.com/office/drawing/2014/main" id="{4AF32163-B136-45B2-9975-AA50D434CED3}"/>
              </a:ext>
            </a:extLst>
          </p:cNvPr>
          <p:cNvSpPr/>
          <p:nvPr/>
        </p:nvSpPr>
        <p:spPr>
          <a:xfrm>
            <a:off x="439892" y="5177974"/>
            <a:ext cx="2231504" cy="10660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chemeClr val="tx1"/>
                </a:solidFill>
              </a:rPr>
              <a:t>Nyderlanduose nėra nacionalinės strategijos, skirtos nustatyti PKT poreikiams. </a:t>
            </a:r>
          </a:p>
        </p:txBody>
      </p:sp>
      <p:sp>
        <p:nvSpPr>
          <p:cNvPr id="68" name="Rectangle 67">
            <a:extLst>
              <a:ext uri="{FF2B5EF4-FFF2-40B4-BE49-F238E27FC236}">
                <a16:creationId xmlns:a16="http://schemas.microsoft.com/office/drawing/2014/main" id="{DC51C86B-4691-48DF-8125-FC5AA5B851D0}"/>
              </a:ext>
            </a:extLst>
          </p:cNvPr>
          <p:cNvSpPr/>
          <p:nvPr/>
        </p:nvSpPr>
        <p:spPr>
          <a:xfrm>
            <a:off x="6854428" y="5179582"/>
            <a:ext cx="1944898" cy="10660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chemeClr val="tx1"/>
                </a:solidFill>
              </a:rPr>
              <a:t>Pedagogai, atsižvelgdami į savo poreikius, gali pasirinkti PKT programas. Poreikiai nustatomi ir per mokytojų veiklos vertinimą mokykloje.</a:t>
            </a:r>
          </a:p>
        </p:txBody>
      </p:sp>
      <p:sp>
        <p:nvSpPr>
          <p:cNvPr id="70" name="Rectangle 69">
            <a:extLst>
              <a:ext uri="{FF2B5EF4-FFF2-40B4-BE49-F238E27FC236}">
                <a16:creationId xmlns:a16="http://schemas.microsoft.com/office/drawing/2014/main" id="{FE0ED578-935C-4054-BC99-28C242DCB930}"/>
              </a:ext>
            </a:extLst>
          </p:cNvPr>
          <p:cNvSpPr/>
          <p:nvPr/>
        </p:nvSpPr>
        <p:spPr>
          <a:xfrm>
            <a:off x="2771806" y="4939166"/>
            <a:ext cx="3960434" cy="225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Švietimo įstaigos</a:t>
            </a:r>
          </a:p>
        </p:txBody>
      </p:sp>
      <p:sp>
        <p:nvSpPr>
          <p:cNvPr id="74" name="Rectangle 73">
            <a:extLst>
              <a:ext uri="{FF2B5EF4-FFF2-40B4-BE49-F238E27FC236}">
                <a16:creationId xmlns:a16="http://schemas.microsoft.com/office/drawing/2014/main" id="{6BA1FD68-7BC3-4236-A28F-1942BBE36A92}"/>
              </a:ext>
            </a:extLst>
          </p:cNvPr>
          <p:cNvSpPr/>
          <p:nvPr/>
        </p:nvSpPr>
        <p:spPr>
          <a:xfrm>
            <a:off x="2769483" y="5177977"/>
            <a:ext cx="3960434" cy="10593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chemeClr val="tx1"/>
                </a:solidFill>
              </a:rPr>
              <a:t>Mokytojų veiklos apžvalgos prisideda prie mokytojo profesinio tobulėjimo, idealiu atveju glaudžiai susijusio su mokyklos poreikiais. Šiuos duomenis peržvelgia Vyriausybė. Aukštosios mokyklos savo iniciatyva bendradarbiauja su mokyklomis, vykdomos apklausos ir interviu siekiant nustatyti pedagogų ir mokyklos tarybų PKT poreikius. </a:t>
            </a:r>
          </a:p>
        </p:txBody>
      </p:sp>
      <p:sp>
        <p:nvSpPr>
          <p:cNvPr id="48" name="Title 1">
            <a:extLst>
              <a:ext uri="{FF2B5EF4-FFF2-40B4-BE49-F238E27FC236}">
                <a16:creationId xmlns:a16="http://schemas.microsoft.com/office/drawing/2014/main" id="{353B1496-165F-4832-AE3B-63E802404B46}"/>
              </a:ext>
            </a:extLst>
          </p:cNvPr>
          <p:cNvSpPr txBox="1">
            <a:spLocks/>
          </p:cNvSpPr>
          <p:nvPr/>
        </p:nvSpPr>
        <p:spPr>
          <a:xfrm>
            <a:off x="395536" y="410596"/>
            <a:ext cx="8353177" cy="497454"/>
          </a:xfrm>
          <a:prstGeom prst="rect">
            <a:avLst/>
          </a:prstGeom>
        </p:spPr>
        <p:txBody>
          <a:bodyPr lIns="0" tIns="45720" rIns="91440" bIns="45720" anchor="t">
            <a:normAutofit/>
          </a:bodyPr>
          <a:lstStyle>
            <a:lvl1pPr algn="l" defTabSz="914400" rtl="0" eaLnBrk="1" latinLnBrk="0" hangingPunct="1">
              <a:spcBef>
                <a:spcPct val="0"/>
              </a:spcBef>
              <a:buNone/>
              <a:defRPr sz="1400" b="0" kern="1200">
                <a:solidFill>
                  <a:schemeClr val="tx1"/>
                </a:solidFill>
                <a:latin typeface="Cambria" panose="02040503050406030204" pitchFamily="18" charset="0"/>
                <a:ea typeface="+mj-ea"/>
                <a:cs typeface="+mj-cs"/>
              </a:defRPr>
            </a:lvl1pPr>
          </a:lstStyle>
          <a:p>
            <a:pPr algn="just"/>
            <a:r>
              <a:rPr lang="en-GB" sz="1300" dirty="0" err="1">
                <a:latin typeface="+mj-ea"/>
              </a:rPr>
              <a:t>Nyderland</a:t>
            </a:r>
            <a:r>
              <a:rPr lang="lt-LT" sz="1300" dirty="0">
                <a:latin typeface="+mj-ea"/>
              </a:rPr>
              <a:t>ų PKT sistema (</a:t>
            </a:r>
            <a:r>
              <a:rPr lang="en-GB" sz="1300" dirty="0">
                <a:latin typeface="+mj-ea"/>
              </a:rPr>
              <a:t>1 / 2)</a:t>
            </a:r>
            <a:endParaRPr lang="lt-LT" sz="1300" dirty="0"/>
          </a:p>
        </p:txBody>
      </p:sp>
    </p:spTree>
    <p:extLst>
      <p:ext uri="{BB962C8B-B14F-4D97-AF65-F5344CB8AC3E}">
        <p14:creationId xmlns:p14="http://schemas.microsoft.com/office/powerpoint/2010/main" val="42682868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35DD2BD4-2C59-4687-96FB-15ADE570F9CB}"/>
              </a:ext>
            </a:extLst>
          </p:cNvPr>
          <p:cNvSpPr/>
          <p:nvPr/>
        </p:nvSpPr>
        <p:spPr>
          <a:xfrm>
            <a:off x="404162"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Estija</a:t>
            </a:r>
          </a:p>
        </p:txBody>
      </p:sp>
      <p:sp>
        <p:nvSpPr>
          <p:cNvPr id="5" name="Parallelogram 4">
            <a:extLst>
              <a:ext uri="{FF2B5EF4-FFF2-40B4-BE49-F238E27FC236}">
                <a16:creationId xmlns:a16="http://schemas.microsoft.com/office/drawing/2014/main" id="{247206C0-5D09-4092-9BF6-F83C998C8935}"/>
              </a:ext>
            </a:extLst>
          </p:cNvPr>
          <p:cNvSpPr/>
          <p:nvPr/>
        </p:nvSpPr>
        <p:spPr>
          <a:xfrm>
            <a:off x="2380131"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Suomija</a:t>
            </a:r>
          </a:p>
        </p:txBody>
      </p:sp>
      <p:sp>
        <p:nvSpPr>
          <p:cNvPr id="6" name="Parallelogram 5">
            <a:extLst>
              <a:ext uri="{FF2B5EF4-FFF2-40B4-BE49-F238E27FC236}">
                <a16:creationId xmlns:a16="http://schemas.microsoft.com/office/drawing/2014/main" id="{44DCF309-A576-4E02-BDDC-16E658D2E8F8}"/>
              </a:ext>
            </a:extLst>
          </p:cNvPr>
          <p:cNvSpPr/>
          <p:nvPr/>
        </p:nvSpPr>
        <p:spPr>
          <a:xfrm>
            <a:off x="4356100" y="41395"/>
            <a:ext cx="2052000" cy="266606"/>
          </a:xfrm>
          <a:prstGeom prst="parallelogram">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Nyderlandai</a:t>
            </a:r>
          </a:p>
        </p:txBody>
      </p:sp>
      <p:sp>
        <p:nvSpPr>
          <p:cNvPr id="7" name="Parallelogram 6">
            <a:extLst>
              <a:ext uri="{FF2B5EF4-FFF2-40B4-BE49-F238E27FC236}">
                <a16:creationId xmlns:a16="http://schemas.microsoft.com/office/drawing/2014/main" id="{49FE8141-7AC9-4210-81A4-44D00BED890C}"/>
              </a:ext>
            </a:extLst>
          </p:cNvPr>
          <p:cNvSpPr/>
          <p:nvPr/>
        </p:nvSpPr>
        <p:spPr>
          <a:xfrm>
            <a:off x="6332070"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Airija</a:t>
            </a:r>
          </a:p>
        </p:txBody>
      </p:sp>
      <p:sp>
        <p:nvSpPr>
          <p:cNvPr id="8" name="Title 1">
            <a:extLst>
              <a:ext uri="{FF2B5EF4-FFF2-40B4-BE49-F238E27FC236}">
                <a16:creationId xmlns:a16="http://schemas.microsoft.com/office/drawing/2014/main" id="{D4BA0322-774D-45E2-995A-B7FBA65EA31F}"/>
              </a:ext>
            </a:extLst>
          </p:cNvPr>
          <p:cNvSpPr>
            <a:spLocks noGrp="1"/>
          </p:cNvSpPr>
          <p:nvPr>
            <p:ph type="title"/>
          </p:nvPr>
        </p:nvSpPr>
        <p:spPr>
          <a:xfrm>
            <a:off x="395536" y="410596"/>
            <a:ext cx="8353177" cy="497454"/>
          </a:xfrm>
        </p:spPr>
        <p:txBody>
          <a:bodyPr lIns="0" tIns="45720" rIns="91440" bIns="45720" anchor="t">
            <a:normAutofit/>
          </a:bodyPr>
          <a:lstStyle/>
          <a:p>
            <a:pPr algn="just"/>
            <a:r>
              <a:rPr lang="lt-LT" sz="1300" dirty="0">
                <a:latin typeface="+mj-ea"/>
              </a:rPr>
              <a:t>Nyderlandų PKT sistema (</a:t>
            </a:r>
            <a:r>
              <a:rPr lang="en-GB" sz="1300" dirty="0">
                <a:latin typeface="+mj-ea"/>
              </a:rPr>
              <a:t>2 / 2)</a:t>
            </a:r>
            <a:endParaRPr lang="lt-LT" sz="1300" dirty="0">
              <a:latin typeface="+mj-ea"/>
            </a:endParaRPr>
          </a:p>
        </p:txBody>
      </p:sp>
      <p:grpSp>
        <p:nvGrpSpPr>
          <p:cNvPr id="21" name="Group 20">
            <a:extLst>
              <a:ext uri="{FF2B5EF4-FFF2-40B4-BE49-F238E27FC236}">
                <a16:creationId xmlns:a16="http://schemas.microsoft.com/office/drawing/2014/main" id="{E22705AF-C88B-4341-A23B-831D8B0F2B62}"/>
              </a:ext>
            </a:extLst>
          </p:cNvPr>
          <p:cNvGrpSpPr/>
          <p:nvPr/>
        </p:nvGrpSpPr>
        <p:grpSpPr>
          <a:xfrm>
            <a:off x="406686" y="2570924"/>
            <a:ext cx="8354911" cy="394293"/>
            <a:chOff x="272871" y="3027297"/>
            <a:chExt cx="8354911" cy="394293"/>
          </a:xfrm>
        </p:grpSpPr>
        <p:sp>
          <p:nvSpPr>
            <p:cNvPr id="19" name="Rectangle 18">
              <a:extLst>
                <a:ext uri="{FF2B5EF4-FFF2-40B4-BE49-F238E27FC236}">
                  <a16:creationId xmlns:a16="http://schemas.microsoft.com/office/drawing/2014/main" id="{6761DB2B-9A99-4B99-905C-3962E3DFE434}"/>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Stebėsena</a:t>
              </a:r>
            </a:p>
          </p:txBody>
        </p:sp>
        <p:cxnSp>
          <p:nvCxnSpPr>
            <p:cNvPr id="20" name="Straight Arrow Connector 19">
              <a:extLst>
                <a:ext uri="{FF2B5EF4-FFF2-40B4-BE49-F238E27FC236}">
                  <a16:creationId xmlns:a16="http://schemas.microsoft.com/office/drawing/2014/main" id="{CB55DD8A-999B-47AE-BE89-CFB3CD0A8F3C}"/>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37BC4D6-76DB-40CD-AEC7-B336BDE348CD}"/>
              </a:ext>
            </a:extLst>
          </p:cNvPr>
          <p:cNvGrpSpPr/>
          <p:nvPr/>
        </p:nvGrpSpPr>
        <p:grpSpPr>
          <a:xfrm>
            <a:off x="400837" y="936300"/>
            <a:ext cx="8349608" cy="394293"/>
            <a:chOff x="278174" y="3027297"/>
            <a:chExt cx="8349608" cy="394293"/>
          </a:xfrm>
        </p:grpSpPr>
        <p:sp>
          <p:nvSpPr>
            <p:cNvPr id="26" name="Rectangle 25">
              <a:extLst>
                <a:ext uri="{FF2B5EF4-FFF2-40B4-BE49-F238E27FC236}">
                  <a16:creationId xmlns:a16="http://schemas.microsoft.com/office/drawing/2014/main" id="{75909F3D-47DF-49E5-B8AD-69EEF5DB3147}"/>
                </a:ext>
              </a:extLst>
            </p:cNvPr>
            <p:cNvSpPr/>
            <p:nvPr/>
          </p:nvSpPr>
          <p:spPr>
            <a:xfrm>
              <a:off x="278174" y="3027297"/>
              <a:ext cx="2819367"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Programų rengimas ir vykdymas</a:t>
              </a:r>
            </a:p>
          </p:txBody>
        </p:sp>
        <p:cxnSp>
          <p:nvCxnSpPr>
            <p:cNvPr id="27" name="Straight Arrow Connector 26">
              <a:extLst>
                <a:ext uri="{FF2B5EF4-FFF2-40B4-BE49-F238E27FC236}">
                  <a16:creationId xmlns:a16="http://schemas.microsoft.com/office/drawing/2014/main" id="{78D7AFB1-BA5C-4A1B-9045-68AB667DBE9B}"/>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84DF5076-1DA5-4282-925D-B07553CA42E4}"/>
              </a:ext>
            </a:extLst>
          </p:cNvPr>
          <p:cNvGrpSpPr/>
          <p:nvPr/>
        </p:nvGrpSpPr>
        <p:grpSpPr>
          <a:xfrm>
            <a:off x="390537" y="4514749"/>
            <a:ext cx="8348408" cy="394293"/>
            <a:chOff x="258353" y="3027297"/>
            <a:chExt cx="8348408" cy="394293"/>
          </a:xfrm>
        </p:grpSpPr>
        <p:sp>
          <p:nvSpPr>
            <p:cNvPr id="50" name="Rectangle 49">
              <a:extLst>
                <a:ext uri="{FF2B5EF4-FFF2-40B4-BE49-F238E27FC236}">
                  <a16:creationId xmlns:a16="http://schemas.microsoft.com/office/drawing/2014/main" id="{DBF40C3F-D451-490C-B81C-F85C1737C158}"/>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Kokybės užtikrinimas</a:t>
              </a:r>
            </a:p>
          </p:txBody>
        </p:sp>
        <p:cxnSp>
          <p:nvCxnSpPr>
            <p:cNvPr id="51" name="Straight Arrow Connector 50">
              <a:extLst>
                <a:ext uri="{FF2B5EF4-FFF2-40B4-BE49-F238E27FC236}">
                  <a16:creationId xmlns:a16="http://schemas.microsoft.com/office/drawing/2014/main" id="{7479AB89-6B83-46C1-96CB-2EA50C2AC17B}"/>
                </a:ext>
              </a:extLst>
            </p:cNvPr>
            <p:cNvCxnSpPr>
              <a:cxnSpLocks/>
            </p:cNvCxnSpPr>
            <p:nvPr/>
          </p:nvCxnSpPr>
          <p:spPr>
            <a:xfrm>
              <a:off x="258353" y="3405930"/>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53" name="TextBox 52">
            <a:extLst>
              <a:ext uri="{FF2B5EF4-FFF2-40B4-BE49-F238E27FC236}">
                <a16:creationId xmlns:a16="http://schemas.microsoft.com/office/drawing/2014/main" id="{A347CF0E-C2E2-44BD-81B2-6E6C77E718A9}"/>
              </a:ext>
            </a:extLst>
          </p:cNvPr>
          <p:cNvSpPr txBox="1"/>
          <p:nvPr/>
        </p:nvSpPr>
        <p:spPr>
          <a:xfrm>
            <a:off x="651518" y="1346751"/>
            <a:ext cx="2281719" cy="90024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Clr>
                <a:schemeClr val="accent6"/>
              </a:buClr>
              <a:buFont typeface="Arial" panose="020B0604020202020204" pitchFamily="34" charset="0"/>
              <a:buChar char="•"/>
            </a:pPr>
            <a:r>
              <a:rPr lang="lt-LT" sz="1050">
                <a:cs typeface="Calibri"/>
              </a:rPr>
              <a:t>Aukštosios mokyklos</a:t>
            </a:r>
          </a:p>
          <a:p>
            <a:pPr marL="171450" indent="-171450">
              <a:buClr>
                <a:schemeClr val="accent6"/>
              </a:buClr>
              <a:buFont typeface="Arial" panose="020B0604020202020204" pitchFamily="34" charset="0"/>
              <a:buChar char="•"/>
            </a:pPr>
            <a:r>
              <a:rPr lang="lt-LT" sz="1050">
                <a:cs typeface="Calibri"/>
              </a:rPr>
              <a:t>Profesiniai universitetai</a:t>
            </a:r>
          </a:p>
          <a:p>
            <a:pPr marL="171450" indent="-171450">
              <a:buClr>
                <a:schemeClr val="accent6"/>
              </a:buClr>
              <a:buFont typeface="Arial" panose="020B0604020202020204" pitchFamily="34" charset="0"/>
              <a:buChar char="•"/>
            </a:pPr>
            <a:r>
              <a:rPr lang="lt-LT" sz="1050">
                <a:cs typeface="Calibri"/>
              </a:rPr>
              <a:t>Kolegijos</a:t>
            </a:r>
          </a:p>
          <a:p>
            <a:pPr marL="171450" indent="-171450">
              <a:buClr>
                <a:schemeClr val="accent6"/>
              </a:buClr>
              <a:buFont typeface="Arial" panose="020B0604020202020204" pitchFamily="34" charset="0"/>
              <a:buChar char="•"/>
            </a:pPr>
            <a:r>
              <a:rPr lang="lt-LT" sz="1050">
                <a:cs typeface="Calibri"/>
              </a:rPr>
              <a:t>Mokyklos</a:t>
            </a:r>
          </a:p>
          <a:p>
            <a:pPr marL="171450" indent="-171450">
              <a:buClr>
                <a:schemeClr val="accent6"/>
              </a:buClr>
              <a:buFont typeface="Arial" panose="020B0604020202020204" pitchFamily="34" charset="0"/>
              <a:buChar char="•"/>
            </a:pPr>
            <a:r>
              <a:rPr lang="lt-LT" sz="1050">
                <a:cs typeface="Calibri"/>
              </a:rPr>
              <a:t>Privačios įstaigos</a:t>
            </a:r>
          </a:p>
        </p:txBody>
      </p:sp>
      <p:sp>
        <p:nvSpPr>
          <p:cNvPr id="2" name="TextBox 1">
            <a:extLst>
              <a:ext uri="{FF2B5EF4-FFF2-40B4-BE49-F238E27FC236}">
                <a16:creationId xmlns:a16="http://schemas.microsoft.com/office/drawing/2014/main" id="{CD8CF473-A24A-4CF8-9BAD-D2F5AB51982D}"/>
              </a:ext>
            </a:extLst>
          </p:cNvPr>
          <p:cNvSpPr txBox="1"/>
          <p:nvPr/>
        </p:nvSpPr>
        <p:spPr>
          <a:xfrm>
            <a:off x="4423489" y="1487939"/>
            <a:ext cx="3687302"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lt-LT" sz="1050">
              <a:cs typeface="Calibri"/>
            </a:endParaRPr>
          </a:p>
          <a:p>
            <a:pPr algn="just"/>
            <a:r>
              <a:rPr lang="lt-LT" sz="1050">
                <a:cs typeface="Calibri"/>
              </a:rPr>
              <a:t>Aukštosios mokyklos Nyderlanduose siūlo ne tik laipsnį suteikiančias akredituotas studijų programas PKT kontekste, bet ir kitas PKT veiklas laisvoje rinkoje.</a:t>
            </a:r>
          </a:p>
        </p:txBody>
      </p:sp>
      <p:grpSp>
        <p:nvGrpSpPr>
          <p:cNvPr id="52" name="Group 51">
            <a:extLst>
              <a:ext uri="{FF2B5EF4-FFF2-40B4-BE49-F238E27FC236}">
                <a16:creationId xmlns:a16="http://schemas.microsoft.com/office/drawing/2014/main" id="{96624199-4701-4C79-8154-921E7CA09689}"/>
              </a:ext>
            </a:extLst>
          </p:cNvPr>
          <p:cNvGrpSpPr/>
          <p:nvPr/>
        </p:nvGrpSpPr>
        <p:grpSpPr>
          <a:xfrm>
            <a:off x="483482" y="3122563"/>
            <a:ext cx="7900587" cy="953734"/>
            <a:chOff x="4763766" y="3175602"/>
            <a:chExt cx="3619650" cy="953734"/>
          </a:xfrm>
        </p:grpSpPr>
        <p:sp>
          <p:nvSpPr>
            <p:cNvPr id="54" name="Rectangle 53">
              <a:extLst>
                <a:ext uri="{FF2B5EF4-FFF2-40B4-BE49-F238E27FC236}">
                  <a16:creationId xmlns:a16="http://schemas.microsoft.com/office/drawing/2014/main" id="{D67A3999-F853-4978-9A88-F0FE42E9F15B}"/>
                </a:ext>
              </a:extLst>
            </p:cNvPr>
            <p:cNvSpPr/>
            <p:nvPr/>
          </p:nvSpPr>
          <p:spPr>
            <a:xfrm>
              <a:off x="4765364" y="3175602"/>
              <a:ext cx="3615561" cy="19736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Išorinė</a:t>
              </a:r>
            </a:p>
          </p:txBody>
        </p:sp>
        <p:sp>
          <p:nvSpPr>
            <p:cNvPr id="55" name="Rectangle 54">
              <a:extLst>
                <a:ext uri="{FF2B5EF4-FFF2-40B4-BE49-F238E27FC236}">
                  <a16:creationId xmlns:a16="http://schemas.microsoft.com/office/drawing/2014/main" id="{0D180A6D-CDDD-4645-A173-EC4A958A3970}"/>
                </a:ext>
              </a:extLst>
            </p:cNvPr>
            <p:cNvSpPr/>
            <p:nvPr/>
          </p:nvSpPr>
          <p:spPr>
            <a:xfrm>
              <a:off x="6667882" y="3429619"/>
              <a:ext cx="1715534" cy="6997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rgbClr val="000000"/>
                  </a:solidFill>
                  <a:ea typeface="+mn-lt"/>
                  <a:cs typeface="+mn-lt"/>
                </a:rPr>
                <a:t>Nyderlanduose nėra bendros vertinimo sistemos, paremtos stebėsena, ar PKT mokymai turėjo įtakos mokytojų augimui bei mokinių pasiekimams</a:t>
              </a:r>
            </a:p>
          </p:txBody>
        </p:sp>
        <p:sp>
          <p:nvSpPr>
            <p:cNvPr id="56" name="Rectangle 55">
              <a:extLst>
                <a:ext uri="{FF2B5EF4-FFF2-40B4-BE49-F238E27FC236}">
                  <a16:creationId xmlns:a16="http://schemas.microsoft.com/office/drawing/2014/main" id="{A564C084-E763-420B-8F8C-C44512C660C1}"/>
                </a:ext>
              </a:extLst>
            </p:cNvPr>
            <p:cNvSpPr/>
            <p:nvPr/>
          </p:nvSpPr>
          <p:spPr>
            <a:xfrm>
              <a:off x="4763766" y="3429618"/>
              <a:ext cx="1720837" cy="6997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rgbClr val="000000"/>
                  </a:solidFill>
                  <a:ea typeface="+mn-lt"/>
                  <a:cs typeface="+mn-lt"/>
                </a:rPr>
                <a:t>Kvalifikuoti Nyderlandų mokytojai yra įtraukti į mokytojų registrą, kuriame jie turi užpildyti informaciją apie savo kvalifikaciją ir profesinio tobulėjimo veiklas.</a:t>
              </a:r>
            </a:p>
          </p:txBody>
        </p:sp>
      </p:grpSp>
      <p:sp>
        <p:nvSpPr>
          <p:cNvPr id="17" name="TextBox 16">
            <a:extLst>
              <a:ext uri="{FF2B5EF4-FFF2-40B4-BE49-F238E27FC236}">
                <a16:creationId xmlns:a16="http://schemas.microsoft.com/office/drawing/2014/main" id="{5325A1A7-0F0C-44F3-8DFD-586133FCFBC2}"/>
              </a:ext>
            </a:extLst>
          </p:cNvPr>
          <p:cNvSpPr txBox="1"/>
          <p:nvPr/>
        </p:nvSpPr>
        <p:spPr>
          <a:xfrm>
            <a:off x="405221" y="4906325"/>
            <a:ext cx="8036536" cy="12234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Clr>
                <a:schemeClr val="accent6"/>
              </a:buClr>
              <a:buFont typeface="Arial" panose="020B0604020202020204" pitchFamily="34" charset="0"/>
              <a:buChar char="•"/>
            </a:pPr>
            <a:r>
              <a:rPr lang="lt-LT" sz="1050" dirty="0">
                <a:cs typeface="Calibri"/>
              </a:rPr>
              <a:t>PKT teikėjai yra atsakingi už savo teikiamų paslaugų kokybę. </a:t>
            </a:r>
          </a:p>
          <a:p>
            <a:pPr marL="171450" indent="-171450">
              <a:buClr>
                <a:schemeClr val="accent6"/>
              </a:buClr>
              <a:buFont typeface="Arial" panose="020B0604020202020204" pitchFamily="34" charset="0"/>
              <a:buChar char="•"/>
            </a:pPr>
            <a:r>
              <a:rPr lang="lt-LT" sz="1050" dirty="0">
                <a:cs typeface="Calibri"/>
              </a:rPr>
              <a:t>Švietimo inspekcija yra atsakinga už tai, kad visos švietimo įstaigos atitiktų įstatymuose nustatytus kokybės standartus. </a:t>
            </a:r>
          </a:p>
          <a:p>
            <a:pPr marL="171450" indent="-171450">
              <a:buClr>
                <a:schemeClr val="accent6"/>
              </a:buClr>
              <a:buFont typeface="Arial" panose="020B0604020202020204" pitchFamily="34" charset="0"/>
              <a:buChar char="•"/>
            </a:pPr>
            <a:r>
              <a:rPr lang="lt-LT" sz="1050" dirty="0">
                <a:cs typeface="Calibri"/>
              </a:rPr>
              <a:t>Nyderlandų ir Flandrijos akreditacijos organizacija yra atsakinga už atskirų programų, suteikiančių laipsnį, kokybės vertinimą ir kokybės užtikrinimą aukštosiose mokyklose. Organizacija vykdo programų akreditavimą ir turi išimtinę kompetenciją vykdyti mokymo kokybės stebėseną. </a:t>
            </a:r>
          </a:p>
          <a:p>
            <a:pPr marL="171450" indent="-171450">
              <a:buClr>
                <a:schemeClr val="accent6"/>
              </a:buClr>
              <a:buFont typeface="Arial" panose="020B0604020202020204" pitchFamily="34" charset="0"/>
              <a:buChar char="•"/>
            </a:pPr>
            <a:r>
              <a:rPr lang="lt-LT" sz="1050" dirty="0">
                <a:cs typeface="Calibri"/>
              </a:rPr>
              <a:t>Valstybės finansuojamos institucijos yra įtrauktos į Nyderlandų aukštojo mokslo įstatymą, o privačios įstaigos, teikiančios PKT, yra pripažįstamos remiantis šio įstatymo priedu. </a:t>
            </a:r>
          </a:p>
        </p:txBody>
      </p:sp>
    </p:spTree>
    <p:extLst>
      <p:ext uri="{BB962C8B-B14F-4D97-AF65-F5344CB8AC3E}">
        <p14:creationId xmlns:p14="http://schemas.microsoft.com/office/powerpoint/2010/main" val="18600059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35DD2BD4-2C59-4687-96FB-15ADE570F9CB}"/>
              </a:ext>
            </a:extLst>
          </p:cNvPr>
          <p:cNvSpPr/>
          <p:nvPr/>
        </p:nvSpPr>
        <p:spPr>
          <a:xfrm>
            <a:off x="404162"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Estija</a:t>
            </a:r>
          </a:p>
        </p:txBody>
      </p:sp>
      <p:sp>
        <p:nvSpPr>
          <p:cNvPr id="5" name="Parallelogram 4">
            <a:extLst>
              <a:ext uri="{FF2B5EF4-FFF2-40B4-BE49-F238E27FC236}">
                <a16:creationId xmlns:a16="http://schemas.microsoft.com/office/drawing/2014/main" id="{247206C0-5D09-4092-9BF6-F83C998C8935}"/>
              </a:ext>
            </a:extLst>
          </p:cNvPr>
          <p:cNvSpPr/>
          <p:nvPr/>
        </p:nvSpPr>
        <p:spPr>
          <a:xfrm>
            <a:off x="2380131"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Suomija</a:t>
            </a:r>
          </a:p>
        </p:txBody>
      </p:sp>
      <p:sp>
        <p:nvSpPr>
          <p:cNvPr id="6" name="Parallelogram 5">
            <a:extLst>
              <a:ext uri="{FF2B5EF4-FFF2-40B4-BE49-F238E27FC236}">
                <a16:creationId xmlns:a16="http://schemas.microsoft.com/office/drawing/2014/main" id="{44DCF309-A576-4E02-BDDC-16E658D2E8F8}"/>
              </a:ext>
            </a:extLst>
          </p:cNvPr>
          <p:cNvSpPr/>
          <p:nvPr/>
        </p:nvSpPr>
        <p:spPr>
          <a:xfrm>
            <a:off x="4356100"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Nyderlandai</a:t>
            </a:r>
          </a:p>
        </p:txBody>
      </p:sp>
      <p:sp>
        <p:nvSpPr>
          <p:cNvPr id="7" name="Parallelogram 6">
            <a:extLst>
              <a:ext uri="{FF2B5EF4-FFF2-40B4-BE49-F238E27FC236}">
                <a16:creationId xmlns:a16="http://schemas.microsoft.com/office/drawing/2014/main" id="{49FE8141-7AC9-4210-81A4-44D00BED890C}"/>
              </a:ext>
            </a:extLst>
          </p:cNvPr>
          <p:cNvSpPr/>
          <p:nvPr/>
        </p:nvSpPr>
        <p:spPr>
          <a:xfrm>
            <a:off x="6332070" y="41395"/>
            <a:ext cx="2052000" cy="266606"/>
          </a:xfrm>
          <a:prstGeom prst="parallelogram">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Airija</a:t>
            </a:r>
          </a:p>
        </p:txBody>
      </p:sp>
      <p:grpSp>
        <p:nvGrpSpPr>
          <p:cNvPr id="21" name="Group 20">
            <a:extLst>
              <a:ext uri="{FF2B5EF4-FFF2-40B4-BE49-F238E27FC236}">
                <a16:creationId xmlns:a16="http://schemas.microsoft.com/office/drawing/2014/main" id="{E22705AF-C88B-4341-A23B-831D8B0F2B62}"/>
              </a:ext>
            </a:extLst>
          </p:cNvPr>
          <p:cNvGrpSpPr/>
          <p:nvPr/>
        </p:nvGrpSpPr>
        <p:grpSpPr>
          <a:xfrm>
            <a:off x="406686" y="2190955"/>
            <a:ext cx="8354911" cy="394293"/>
            <a:chOff x="272871" y="3027297"/>
            <a:chExt cx="8354911" cy="394293"/>
          </a:xfrm>
        </p:grpSpPr>
        <p:sp>
          <p:nvSpPr>
            <p:cNvPr id="19" name="Rectangle 18">
              <a:extLst>
                <a:ext uri="{FF2B5EF4-FFF2-40B4-BE49-F238E27FC236}">
                  <a16:creationId xmlns:a16="http://schemas.microsoft.com/office/drawing/2014/main" id="{6761DB2B-9A99-4B99-905C-3962E3DFE434}"/>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Finansavimas</a:t>
              </a:r>
            </a:p>
          </p:txBody>
        </p:sp>
        <p:cxnSp>
          <p:nvCxnSpPr>
            <p:cNvPr id="20" name="Straight Arrow Connector 19">
              <a:extLst>
                <a:ext uri="{FF2B5EF4-FFF2-40B4-BE49-F238E27FC236}">
                  <a16:creationId xmlns:a16="http://schemas.microsoft.com/office/drawing/2014/main" id="{CB55DD8A-999B-47AE-BE89-CFB3CD0A8F3C}"/>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37BC4D6-76DB-40CD-AEC7-B336BDE348CD}"/>
              </a:ext>
            </a:extLst>
          </p:cNvPr>
          <p:cNvGrpSpPr/>
          <p:nvPr/>
        </p:nvGrpSpPr>
        <p:grpSpPr>
          <a:xfrm>
            <a:off x="395534" y="863959"/>
            <a:ext cx="8354911" cy="394293"/>
            <a:chOff x="272871" y="3027297"/>
            <a:chExt cx="8354911" cy="394293"/>
          </a:xfrm>
        </p:grpSpPr>
        <p:sp>
          <p:nvSpPr>
            <p:cNvPr id="26" name="Rectangle 25">
              <a:extLst>
                <a:ext uri="{FF2B5EF4-FFF2-40B4-BE49-F238E27FC236}">
                  <a16:creationId xmlns:a16="http://schemas.microsoft.com/office/drawing/2014/main" id="{75909F3D-47DF-49E5-B8AD-69EEF5DB3147}"/>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Reglamentavimas</a:t>
              </a:r>
            </a:p>
          </p:txBody>
        </p:sp>
        <p:cxnSp>
          <p:nvCxnSpPr>
            <p:cNvPr id="27" name="Straight Arrow Connector 26">
              <a:extLst>
                <a:ext uri="{FF2B5EF4-FFF2-40B4-BE49-F238E27FC236}">
                  <a16:creationId xmlns:a16="http://schemas.microsoft.com/office/drawing/2014/main" id="{78D7AFB1-BA5C-4A1B-9045-68AB667DBE9B}"/>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ADEE0810-9935-4643-89FE-33606C636F54}"/>
              </a:ext>
            </a:extLst>
          </p:cNvPr>
          <p:cNvGrpSpPr/>
          <p:nvPr/>
        </p:nvGrpSpPr>
        <p:grpSpPr>
          <a:xfrm>
            <a:off x="400190" y="1401561"/>
            <a:ext cx="8359092" cy="253916"/>
            <a:chOff x="400190" y="1713795"/>
            <a:chExt cx="8359092" cy="253916"/>
          </a:xfrm>
        </p:grpSpPr>
        <p:sp>
          <p:nvSpPr>
            <p:cNvPr id="17" name="TextBox 16">
              <a:extLst>
                <a:ext uri="{FF2B5EF4-FFF2-40B4-BE49-F238E27FC236}">
                  <a16:creationId xmlns:a16="http://schemas.microsoft.com/office/drawing/2014/main" id="{3943F60A-B91C-4B98-9E64-78FCCC2F3D54}"/>
                </a:ext>
              </a:extLst>
            </p:cNvPr>
            <p:cNvSpPr txBox="1"/>
            <p:nvPr/>
          </p:nvSpPr>
          <p:spPr>
            <a:xfrm>
              <a:off x="400190" y="1713795"/>
              <a:ext cx="2239403"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lt-LT" sz="1050"/>
                <a:t>Švietimo įstatymas</a:t>
              </a:r>
            </a:p>
          </p:txBody>
        </p:sp>
        <p:sp>
          <p:nvSpPr>
            <p:cNvPr id="31" name="TextBox 30">
              <a:extLst>
                <a:ext uri="{FF2B5EF4-FFF2-40B4-BE49-F238E27FC236}">
                  <a16:creationId xmlns:a16="http://schemas.microsoft.com/office/drawing/2014/main" id="{3594246A-D1E7-4360-9D2D-BE94E233B41D}"/>
                </a:ext>
              </a:extLst>
            </p:cNvPr>
            <p:cNvSpPr txBox="1"/>
            <p:nvPr/>
          </p:nvSpPr>
          <p:spPr>
            <a:xfrm>
              <a:off x="2715322" y="1713795"/>
              <a:ext cx="6043960"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lt-LT" sz="1050"/>
                <a:t>Numato PKT funkcijas, atliekamas Švietimo ministro, mokyklos bei Švietimo inspekcijos.</a:t>
              </a:r>
            </a:p>
          </p:txBody>
        </p:sp>
      </p:grpSp>
      <p:grpSp>
        <p:nvGrpSpPr>
          <p:cNvPr id="35" name="Group 34">
            <a:extLst>
              <a:ext uri="{FF2B5EF4-FFF2-40B4-BE49-F238E27FC236}">
                <a16:creationId xmlns:a16="http://schemas.microsoft.com/office/drawing/2014/main" id="{58A120A3-C995-4456-8935-37B9EF9F8C61}"/>
              </a:ext>
            </a:extLst>
          </p:cNvPr>
          <p:cNvGrpSpPr/>
          <p:nvPr/>
        </p:nvGrpSpPr>
        <p:grpSpPr>
          <a:xfrm>
            <a:off x="407020" y="1700808"/>
            <a:ext cx="8207295" cy="559514"/>
            <a:chOff x="440474" y="2358729"/>
            <a:chExt cx="8207295" cy="559514"/>
          </a:xfrm>
        </p:grpSpPr>
        <p:sp>
          <p:nvSpPr>
            <p:cNvPr id="33" name="TextBox 32">
              <a:extLst>
                <a:ext uri="{FF2B5EF4-FFF2-40B4-BE49-F238E27FC236}">
                  <a16:creationId xmlns:a16="http://schemas.microsoft.com/office/drawing/2014/main" id="{329DBB42-0C2E-44CE-AEBF-0E418ED6416A}"/>
                </a:ext>
              </a:extLst>
            </p:cNvPr>
            <p:cNvSpPr txBox="1"/>
            <p:nvPr/>
          </p:nvSpPr>
          <p:spPr>
            <a:xfrm>
              <a:off x="440474" y="2502745"/>
              <a:ext cx="2163336"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lt-LT" sz="1050">
                  <a:ea typeface="+mn-lt"/>
                  <a:cs typeface="+mn-lt"/>
                </a:rPr>
                <a:t>Mokymo tarybos profesinio elgesio kodeksas</a:t>
              </a:r>
            </a:p>
          </p:txBody>
        </p:sp>
        <p:sp>
          <p:nvSpPr>
            <p:cNvPr id="34" name="TextBox 33">
              <a:extLst>
                <a:ext uri="{FF2B5EF4-FFF2-40B4-BE49-F238E27FC236}">
                  <a16:creationId xmlns:a16="http://schemas.microsoft.com/office/drawing/2014/main" id="{076A2663-7BC0-48F1-BD18-AA10EBD22B10}"/>
                </a:ext>
              </a:extLst>
            </p:cNvPr>
            <p:cNvSpPr txBox="1"/>
            <p:nvPr/>
          </p:nvSpPr>
          <p:spPr>
            <a:xfrm>
              <a:off x="2748774" y="2358729"/>
              <a:ext cx="5898995"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lt-LT" sz="1050">
                  <a:cs typeface="Calibri"/>
                </a:rPr>
                <a:t>Kodekse nustatyti mokytojų profesinių žinių, įgūdžių ir kompetencijos standartai, kurių tikimasi iš mokytojų.</a:t>
              </a:r>
            </a:p>
          </p:txBody>
        </p:sp>
      </p:grpSp>
      <p:sp>
        <p:nvSpPr>
          <p:cNvPr id="38" name="TextBox 37">
            <a:extLst>
              <a:ext uri="{FF2B5EF4-FFF2-40B4-BE49-F238E27FC236}">
                <a16:creationId xmlns:a16="http://schemas.microsoft.com/office/drawing/2014/main" id="{787DCCBB-04AD-45F3-814A-F0BE45E2CFE9}"/>
              </a:ext>
            </a:extLst>
          </p:cNvPr>
          <p:cNvSpPr txBox="1"/>
          <p:nvPr/>
        </p:nvSpPr>
        <p:spPr>
          <a:xfrm>
            <a:off x="407019" y="2698595"/>
            <a:ext cx="2163336"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lt-LT" sz="1050">
                <a:cs typeface="Calibri"/>
              </a:rPr>
              <a:t>PKT finansavimas vykdomas per mokyklas:</a:t>
            </a:r>
          </a:p>
        </p:txBody>
      </p:sp>
      <p:grpSp>
        <p:nvGrpSpPr>
          <p:cNvPr id="49" name="Group 48">
            <a:extLst>
              <a:ext uri="{FF2B5EF4-FFF2-40B4-BE49-F238E27FC236}">
                <a16:creationId xmlns:a16="http://schemas.microsoft.com/office/drawing/2014/main" id="{84DF5076-1DA5-4282-925D-B07553CA42E4}"/>
              </a:ext>
            </a:extLst>
          </p:cNvPr>
          <p:cNvGrpSpPr/>
          <p:nvPr/>
        </p:nvGrpSpPr>
        <p:grpSpPr>
          <a:xfrm>
            <a:off x="373231" y="3551403"/>
            <a:ext cx="8354911" cy="394293"/>
            <a:chOff x="272871" y="3027297"/>
            <a:chExt cx="8354911" cy="394293"/>
          </a:xfrm>
        </p:grpSpPr>
        <p:sp>
          <p:nvSpPr>
            <p:cNvPr id="50" name="Rectangle 49">
              <a:extLst>
                <a:ext uri="{FF2B5EF4-FFF2-40B4-BE49-F238E27FC236}">
                  <a16:creationId xmlns:a16="http://schemas.microsoft.com/office/drawing/2014/main" id="{DBF40C3F-D451-490C-B81C-F85C1737C158}"/>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Bendradarbiavimas</a:t>
              </a:r>
            </a:p>
          </p:txBody>
        </p:sp>
        <p:cxnSp>
          <p:nvCxnSpPr>
            <p:cNvPr id="51" name="Straight Arrow Connector 50">
              <a:extLst>
                <a:ext uri="{FF2B5EF4-FFF2-40B4-BE49-F238E27FC236}">
                  <a16:creationId xmlns:a16="http://schemas.microsoft.com/office/drawing/2014/main" id="{7479AB89-6B83-46C1-96CB-2EA50C2AC17B}"/>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53" name="TextBox 52">
            <a:extLst>
              <a:ext uri="{FF2B5EF4-FFF2-40B4-BE49-F238E27FC236}">
                <a16:creationId xmlns:a16="http://schemas.microsoft.com/office/drawing/2014/main" id="{A347CF0E-C2E2-44BD-81B2-6E6C77E718A9}"/>
              </a:ext>
            </a:extLst>
          </p:cNvPr>
          <p:cNvSpPr txBox="1"/>
          <p:nvPr/>
        </p:nvSpPr>
        <p:spPr>
          <a:xfrm>
            <a:off x="377886" y="3949616"/>
            <a:ext cx="8381395" cy="5770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gn="just">
              <a:buClr>
                <a:schemeClr val="accent6"/>
              </a:buClr>
              <a:buFont typeface="Arial" panose="020B0604020202020204" pitchFamily="34" charset="0"/>
              <a:buChar char="•"/>
            </a:pPr>
            <a:r>
              <a:rPr lang="en-GB" sz="1050" dirty="0">
                <a:solidFill>
                  <a:schemeClr val="tx1"/>
                </a:solidFill>
              </a:rPr>
              <a:t>A</a:t>
            </a:r>
            <a:r>
              <a:rPr lang="lt-LT" sz="1050" dirty="0" err="1">
                <a:solidFill>
                  <a:schemeClr val="tx1"/>
                </a:solidFill>
              </a:rPr>
              <a:t>ukštosios</a:t>
            </a:r>
            <a:r>
              <a:rPr lang="lt-LT" sz="1050" dirty="0">
                <a:solidFill>
                  <a:schemeClr val="tx1"/>
                </a:solidFill>
              </a:rPr>
              <a:t> mokyklos, kurių PKT programas finansuoja Švietimo departamentas, bendradarbiauja su departamentu įgyvendindami įvairius projektus</a:t>
            </a:r>
          </a:p>
          <a:p>
            <a:pPr marL="285750" indent="-285750" algn="just">
              <a:buClr>
                <a:schemeClr val="accent6"/>
              </a:buClr>
              <a:buFont typeface="Arial" panose="020B0604020202020204" pitchFamily="34" charset="0"/>
              <a:buChar char="•"/>
            </a:pPr>
            <a:r>
              <a:rPr lang="lt-LT" sz="1050" dirty="0"/>
              <a:t>Aukštosios mokyklos, švietimo centrai ir kiti PKT teikėjai bendradarbiauja rengiant ir vykdant PKT programas</a:t>
            </a:r>
            <a:endParaRPr lang="lt-LT" sz="1050" dirty="0">
              <a:solidFill>
                <a:schemeClr val="tx1"/>
              </a:solidFill>
            </a:endParaRPr>
          </a:p>
        </p:txBody>
      </p:sp>
      <p:grpSp>
        <p:nvGrpSpPr>
          <p:cNvPr id="55" name="Group 54">
            <a:extLst>
              <a:ext uri="{FF2B5EF4-FFF2-40B4-BE49-F238E27FC236}">
                <a16:creationId xmlns:a16="http://schemas.microsoft.com/office/drawing/2014/main" id="{5B2FD58A-EAAC-43F0-8CA6-AA65447DAAD0}"/>
              </a:ext>
            </a:extLst>
          </p:cNvPr>
          <p:cNvGrpSpPr/>
          <p:nvPr/>
        </p:nvGrpSpPr>
        <p:grpSpPr>
          <a:xfrm>
            <a:off x="417835" y="4599616"/>
            <a:ext cx="8354911" cy="394293"/>
            <a:chOff x="272871" y="3027297"/>
            <a:chExt cx="8354911" cy="394293"/>
          </a:xfrm>
        </p:grpSpPr>
        <p:sp>
          <p:nvSpPr>
            <p:cNvPr id="56" name="Rectangle 55">
              <a:extLst>
                <a:ext uri="{FF2B5EF4-FFF2-40B4-BE49-F238E27FC236}">
                  <a16:creationId xmlns:a16="http://schemas.microsoft.com/office/drawing/2014/main" id="{99A6280F-9012-4AE6-831B-39CCCB519AE5}"/>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PKT poreikių vertinimas</a:t>
              </a:r>
            </a:p>
          </p:txBody>
        </p:sp>
        <p:cxnSp>
          <p:nvCxnSpPr>
            <p:cNvPr id="57" name="Straight Arrow Connector 56">
              <a:extLst>
                <a:ext uri="{FF2B5EF4-FFF2-40B4-BE49-F238E27FC236}">
                  <a16:creationId xmlns:a16="http://schemas.microsoft.com/office/drawing/2014/main" id="{2E7D0B68-8DDA-4071-8C8E-E619D7F3F1CF}"/>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60" name="Rectangle 59">
            <a:extLst>
              <a:ext uri="{FF2B5EF4-FFF2-40B4-BE49-F238E27FC236}">
                <a16:creationId xmlns:a16="http://schemas.microsoft.com/office/drawing/2014/main" id="{BCE3AAE7-D6B4-43D1-B29C-1016ADA97EB2}"/>
              </a:ext>
            </a:extLst>
          </p:cNvPr>
          <p:cNvSpPr/>
          <p:nvPr/>
        </p:nvSpPr>
        <p:spPr>
          <a:xfrm>
            <a:off x="395536" y="5010019"/>
            <a:ext cx="4270436" cy="18795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Nacionaliniai</a:t>
            </a:r>
          </a:p>
        </p:txBody>
      </p:sp>
      <p:sp>
        <p:nvSpPr>
          <p:cNvPr id="62" name="Rectangle 61">
            <a:extLst>
              <a:ext uri="{FF2B5EF4-FFF2-40B4-BE49-F238E27FC236}">
                <a16:creationId xmlns:a16="http://schemas.microsoft.com/office/drawing/2014/main" id="{AE0E76A9-A998-4725-8A2E-B6F1E5CD3A22}"/>
              </a:ext>
            </a:extLst>
          </p:cNvPr>
          <p:cNvSpPr/>
          <p:nvPr/>
        </p:nvSpPr>
        <p:spPr>
          <a:xfrm>
            <a:off x="6795622" y="5015365"/>
            <a:ext cx="1944216" cy="1867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Pedagogų</a:t>
            </a:r>
          </a:p>
        </p:txBody>
      </p:sp>
      <p:sp>
        <p:nvSpPr>
          <p:cNvPr id="64" name="Rectangle 63">
            <a:extLst>
              <a:ext uri="{FF2B5EF4-FFF2-40B4-BE49-F238E27FC236}">
                <a16:creationId xmlns:a16="http://schemas.microsoft.com/office/drawing/2014/main" id="{4AF32163-B136-45B2-9975-AA50D434CED3}"/>
              </a:ext>
            </a:extLst>
          </p:cNvPr>
          <p:cNvSpPr/>
          <p:nvPr/>
        </p:nvSpPr>
        <p:spPr>
          <a:xfrm>
            <a:off x="398083" y="5228296"/>
            <a:ext cx="2231504" cy="100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chemeClr val="tx1"/>
                </a:solidFill>
                <a:cs typeface="Calibri"/>
              </a:rPr>
              <a:t>Nacionalinė ugdymo turinio ir vertinimo taryba peržiūri PKT poreikius remiantis mokymo programų reformomis ir pataria švietimo ministrui šių poreikių atžvilgiu.</a:t>
            </a:r>
          </a:p>
        </p:txBody>
      </p:sp>
      <p:sp>
        <p:nvSpPr>
          <p:cNvPr id="66" name="Rectangle 65">
            <a:extLst>
              <a:ext uri="{FF2B5EF4-FFF2-40B4-BE49-F238E27FC236}">
                <a16:creationId xmlns:a16="http://schemas.microsoft.com/office/drawing/2014/main" id="{FD1C34E6-C313-46D2-BA44-B8D6766162CA}"/>
              </a:ext>
            </a:extLst>
          </p:cNvPr>
          <p:cNvSpPr/>
          <p:nvPr/>
        </p:nvSpPr>
        <p:spPr>
          <a:xfrm>
            <a:off x="4786091" y="5228296"/>
            <a:ext cx="1944898" cy="100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r>
              <a:rPr lang="lt-LT" sz="1050" noProof="1">
                <a:solidFill>
                  <a:schemeClr val="tx1"/>
                </a:solidFill>
              </a:rPr>
              <a:t>Mokyklos nustato PKT poreikius, atsižvelgdamos į savo plėtros planą, įsivertinimo rezultatus bei pedagogų PKT poreikius. Švietimo centrai konsultuojasi su mokyklomis.</a:t>
            </a:r>
          </a:p>
        </p:txBody>
      </p:sp>
      <p:sp>
        <p:nvSpPr>
          <p:cNvPr id="68" name="Rectangle 67">
            <a:extLst>
              <a:ext uri="{FF2B5EF4-FFF2-40B4-BE49-F238E27FC236}">
                <a16:creationId xmlns:a16="http://schemas.microsoft.com/office/drawing/2014/main" id="{DC51C86B-4691-48DF-8125-FC5AA5B851D0}"/>
              </a:ext>
            </a:extLst>
          </p:cNvPr>
          <p:cNvSpPr/>
          <p:nvPr/>
        </p:nvSpPr>
        <p:spPr>
          <a:xfrm>
            <a:off x="6801197" y="5228296"/>
            <a:ext cx="1944898" cy="100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chemeClr val="tx1"/>
                </a:solidFill>
              </a:rPr>
              <a:t>Skiriamas didelis dėmesys individualiems mokytojų PKT prioritetams, taip pat atsižvelgiama į mokytojų vertybes, motyvaciją. Mokytojai gali laisvai pasirinkti PKT veiklas.</a:t>
            </a:r>
          </a:p>
        </p:txBody>
      </p:sp>
      <p:sp>
        <p:nvSpPr>
          <p:cNvPr id="72" name="Rectangle 71">
            <a:extLst>
              <a:ext uri="{FF2B5EF4-FFF2-40B4-BE49-F238E27FC236}">
                <a16:creationId xmlns:a16="http://schemas.microsoft.com/office/drawing/2014/main" id="{4FEE95EE-976C-42C6-A9A7-26ECEE6DCBFD}"/>
              </a:ext>
            </a:extLst>
          </p:cNvPr>
          <p:cNvSpPr/>
          <p:nvPr/>
        </p:nvSpPr>
        <p:spPr>
          <a:xfrm>
            <a:off x="4787478" y="5015366"/>
            <a:ext cx="1944216" cy="1867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Švietimo įstaigos</a:t>
            </a:r>
          </a:p>
        </p:txBody>
      </p:sp>
      <p:sp>
        <p:nvSpPr>
          <p:cNvPr id="74" name="Rectangle 73">
            <a:extLst>
              <a:ext uri="{FF2B5EF4-FFF2-40B4-BE49-F238E27FC236}">
                <a16:creationId xmlns:a16="http://schemas.microsoft.com/office/drawing/2014/main" id="{6BA1FD68-7BC3-4236-A28F-1942BBE36A92}"/>
              </a:ext>
            </a:extLst>
          </p:cNvPr>
          <p:cNvSpPr/>
          <p:nvPr/>
        </p:nvSpPr>
        <p:spPr>
          <a:xfrm>
            <a:off x="2715321" y="5228296"/>
            <a:ext cx="1950652" cy="100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chemeClr val="tx1"/>
                </a:solidFill>
              </a:rPr>
              <a:t>Mokytojų rengimo skyrius nustato prioritetus, skiriant turimas valstybės lėšas PKT ir jų teikimo būdus.</a:t>
            </a:r>
          </a:p>
        </p:txBody>
      </p:sp>
      <p:sp>
        <p:nvSpPr>
          <p:cNvPr id="43" name="TextBox 42">
            <a:extLst>
              <a:ext uri="{FF2B5EF4-FFF2-40B4-BE49-F238E27FC236}">
                <a16:creationId xmlns:a16="http://schemas.microsoft.com/office/drawing/2014/main" id="{01D21B7A-478A-4DF4-8419-E22DE776FFB9}"/>
              </a:ext>
            </a:extLst>
          </p:cNvPr>
          <p:cNvSpPr txBox="1"/>
          <p:nvPr/>
        </p:nvSpPr>
        <p:spPr>
          <a:xfrm>
            <a:off x="2725125" y="2636912"/>
            <a:ext cx="5898995" cy="5770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lt-LT" sz="1050">
                <a:cs typeface="Calibri"/>
              </a:rPr>
              <a:t>Airijoje yra tiek mokamų, tiek nemokamų PKT veiklų. Didžiąją jų dalį nemokamai teikia įvairūs valstybės finansuojami teikėjai. Tačiau mokytojai dažnai moka už kitų paslaugų teikėjų, įskaitant privačius, organizuojamus kursus. </a:t>
            </a:r>
          </a:p>
        </p:txBody>
      </p:sp>
      <p:sp>
        <p:nvSpPr>
          <p:cNvPr id="3" name="Title 2">
            <a:extLst>
              <a:ext uri="{FF2B5EF4-FFF2-40B4-BE49-F238E27FC236}">
                <a16:creationId xmlns:a16="http://schemas.microsoft.com/office/drawing/2014/main" id="{EF4B13B2-3547-400D-9BD5-6F744B79A24A}"/>
              </a:ext>
            </a:extLst>
          </p:cNvPr>
          <p:cNvSpPr>
            <a:spLocks noGrp="1"/>
          </p:cNvSpPr>
          <p:nvPr>
            <p:ph type="title"/>
          </p:nvPr>
        </p:nvSpPr>
        <p:spPr/>
        <p:txBody>
          <a:bodyPr>
            <a:normAutofit/>
          </a:bodyPr>
          <a:lstStyle/>
          <a:p>
            <a:r>
              <a:rPr lang="lt-LT" dirty="0"/>
              <a:t>Airijos PKT sistema (</a:t>
            </a:r>
            <a:r>
              <a:rPr lang="en-GB" dirty="0"/>
              <a:t>1 / 2)</a:t>
            </a:r>
          </a:p>
        </p:txBody>
      </p:sp>
    </p:spTree>
    <p:extLst>
      <p:ext uri="{BB962C8B-B14F-4D97-AF65-F5344CB8AC3E}">
        <p14:creationId xmlns:p14="http://schemas.microsoft.com/office/powerpoint/2010/main" val="38286112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35DD2BD4-2C59-4687-96FB-15ADE570F9CB}"/>
              </a:ext>
            </a:extLst>
          </p:cNvPr>
          <p:cNvSpPr/>
          <p:nvPr/>
        </p:nvSpPr>
        <p:spPr>
          <a:xfrm>
            <a:off x="404162"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Estija</a:t>
            </a:r>
          </a:p>
        </p:txBody>
      </p:sp>
      <p:sp>
        <p:nvSpPr>
          <p:cNvPr id="5" name="Parallelogram 4">
            <a:extLst>
              <a:ext uri="{FF2B5EF4-FFF2-40B4-BE49-F238E27FC236}">
                <a16:creationId xmlns:a16="http://schemas.microsoft.com/office/drawing/2014/main" id="{247206C0-5D09-4092-9BF6-F83C998C8935}"/>
              </a:ext>
            </a:extLst>
          </p:cNvPr>
          <p:cNvSpPr/>
          <p:nvPr/>
        </p:nvSpPr>
        <p:spPr>
          <a:xfrm>
            <a:off x="2380131"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Suomija</a:t>
            </a:r>
          </a:p>
        </p:txBody>
      </p:sp>
      <p:sp>
        <p:nvSpPr>
          <p:cNvPr id="6" name="Parallelogram 5">
            <a:extLst>
              <a:ext uri="{FF2B5EF4-FFF2-40B4-BE49-F238E27FC236}">
                <a16:creationId xmlns:a16="http://schemas.microsoft.com/office/drawing/2014/main" id="{44DCF309-A576-4E02-BDDC-16E658D2E8F8}"/>
              </a:ext>
            </a:extLst>
          </p:cNvPr>
          <p:cNvSpPr/>
          <p:nvPr/>
        </p:nvSpPr>
        <p:spPr>
          <a:xfrm>
            <a:off x="4356100"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Nyderlandai</a:t>
            </a:r>
          </a:p>
        </p:txBody>
      </p:sp>
      <p:sp>
        <p:nvSpPr>
          <p:cNvPr id="7" name="Parallelogram 6">
            <a:extLst>
              <a:ext uri="{FF2B5EF4-FFF2-40B4-BE49-F238E27FC236}">
                <a16:creationId xmlns:a16="http://schemas.microsoft.com/office/drawing/2014/main" id="{49FE8141-7AC9-4210-81A4-44D00BED890C}"/>
              </a:ext>
            </a:extLst>
          </p:cNvPr>
          <p:cNvSpPr/>
          <p:nvPr/>
        </p:nvSpPr>
        <p:spPr>
          <a:xfrm>
            <a:off x="6332070" y="41395"/>
            <a:ext cx="2052000" cy="266606"/>
          </a:xfrm>
          <a:prstGeom prst="parallelogram">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Airija</a:t>
            </a:r>
          </a:p>
        </p:txBody>
      </p:sp>
      <p:sp>
        <p:nvSpPr>
          <p:cNvPr id="8" name="Title 1">
            <a:extLst>
              <a:ext uri="{FF2B5EF4-FFF2-40B4-BE49-F238E27FC236}">
                <a16:creationId xmlns:a16="http://schemas.microsoft.com/office/drawing/2014/main" id="{D4BA0322-774D-45E2-995A-B7FBA65EA31F}"/>
              </a:ext>
            </a:extLst>
          </p:cNvPr>
          <p:cNvSpPr>
            <a:spLocks noGrp="1"/>
          </p:cNvSpPr>
          <p:nvPr>
            <p:ph type="title"/>
          </p:nvPr>
        </p:nvSpPr>
        <p:spPr>
          <a:xfrm>
            <a:off x="395537" y="410596"/>
            <a:ext cx="7988534" cy="497454"/>
          </a:xfrm>
        </p:spPr>
        <p:txBody>
          <a:bodyPr lIns="0" tIns="45720" rIns="91440" bIns="45720" anchor="t">
            <a:normAutofit/>
          </a:bodyPr>
          <a:lstStyle/>
          <a:p>
            <a:pPr algn="just"/>
            <a:r>
              <a:rPr lang="lt-LT" sz="1300" dirty="0">
                <a:latin typeface="+mj-ea"/>
              </a:rPr>
              <a:t>Airijos PKT sistema (</a:t>
            </a:r>
            <a:r>
              <a:rPr lang="en-GB" sz="1300" dirty="0">
                <a:latin typeface="+mj-ea"/>
              </a:rPr>
              <a:t>2 / 2)</a:t>
            </a:r>
            <a:endParaRPr lang="lt-LT" sz="1300" dirty="0">
              <a:latin typeface="+mj-ea"/>
            </a:endParaRPr>
          </a:p>
        </p:txBody>
      </p:sp>
      <p:grpSp>
        <p:nvGrpSpPr>
          <p:cNvPr id="21" name="Group 20">
            <a:extLst>
              <a:ext uri="{FF2B5EF4-FFF2-40B4-BE49-F238E27FC236}">
                <a16:creationId xmlns:a16="http://schemas.microsoft.com/office/drawing/2014/main" id="{E22705AF-C88B-4341-A23B-831D8B0F2B62}"/>
              </a:ext>
            </a:extLst>
          </p:cNvPr>
          <p:cNvGrpSpPr/>
          <p:nvPr/>
        </p:nvGrpSpPr>
        <p:grpSpPr>
          <a:xfrm>
            <a:off x="406686" y="2570924"/>
            <a:ext cx="8354911" cy="394293"/>
            <a:chOff x="272871" y="3027297"/>
            <a:chExt cx="8354911" cy="394293"/>
          </a:xfrm>
        </p:grpSpPr>
        <p:sp>
          <p:nvSpPr>
            <p:cNvPr id="19" name="Rectangle 18">
              <a:extLst>
                <a:ext uri="{FF2B5EF4-FFF2-40B4-BE49-F238E27FC236}">
                  <a16:creationId xmlns:a16="http://schemas.microsoft.com/office/drawing/2014/main" id="{6761DB2B-9A99-4B99-905C-3962E3DFE434}"/>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Stebėsena</a:t>
              </a:r>
            </a:p>
          </p:txBody>
        </p:sp>
        <p:cxnSp>
          <p:nvCxnSpPr>
            <p:cNvPr id="20" name="Straight Arrow Connector 19">
              <a:extLst>
                <a:ext uri="{FF2B5EF4-FFF2-40B4-BE49-F238E27FC236}">
                  <a16:creationId xmlns:a16="http://schemas.microsoft.com/office/drawing/2014/main" id="{CB55DD8A-999B-47AE-BE89-CFB3CD0A8F3C}"/>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37BC4D6-76DB-40CD-AEC7-B336BDE348CD}"/>
              </a:ext>
            </a:extLst>
          </p:cNvPr>
          <p:cNvGrpSpPr/>
          <p:nvPr/>
        </p:nvGrpSpPr>
        <p:grpSpPr>
          <a:xfrm>
            <a:off x="400837" y="936300"/>
            <a:ext cx="8349608" cy="394293"/>
            <a:chOff x="278174" y="3027297"/>
            <a:chExt cx="8349608" cy="394293"/>
          </a:xfrm>
        </p:grpSpPr>
        <p:sp>
          <p:nvSpPr>
            <p:cNvPr id="26" name="Rectangle 25">
              <a:extLst>
                <a:ext uri="{FF2B5EF4-FFF2-40B4-BE49-F238E27FC236}">
                  <a16:creationId xmlns:a16="http://schemas.microsoft.com/office/drawing/2014/main" id="{75909F3D-47DF-49E5-B8AD-69EEF5DB3147}"/>
                </a:ext>
              </a:extLst>
            </p:cNvPr>
            <p:cNvSpPr/>
            <p:nvPr/>
          </p:nvSpPr>
          <p:spPr>
            <a:xfrm>
              <a:off x="278174" y="3027297"/>
              <a:ext cx="2819367"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Programų rengimas ir vykdymas</a:t>
              </a:r>
            </a:p>
          </p:txBody>
        </p:sp>
        <p:cxnSp>
          <p:nvCxnSpPr>
            <p:cNvPr id="27" name="Straight Arrow Connector 26">
              <a:extLst>
                <a:ext uri="{FF2B5EF4-FFF2-40B4-BE49-F238E27FC236}">
                  <a16:creationId xmlns:a16="http://schemas.microsoft.com/office/drawing/2014/main" id="{78D7AFB1-BA5C-4A1B-9045-68AB667DBE9B}"/>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84DF5076-1DA5-4282-925D-B07553CA42E4}"/>
              </a:ext>
            </a:extLst>
          </p:cNvPr>
          <p:cNvGrpSpPr/>
          <p:nvPr/>
        </p:nvGrpSpPr>
        <p:grpSpPr>
          <a:xfrm>
            <a:off x="405055" y="4590949"/>
            <a:ext cx="8354911" cy="394293"/>
            <a:chOff x="272871" y="3027297"/>
            <a:chExt cx="8354911" cy="394293"/>
          </a:xfrm>
        </p:grpSpPr>
        <p:sp>
          <p:nvSpPr>
            <p:cNvPr id="50" name="Rectangle 49">
              <a:extLst>
                <a:ext uri="{FF2B5EF4-FFF2-40B4-BE49-F238E27FC236}">
                  <a16:creationId xmlns:a16="http://schemas.microsoft.com/office/drawing/2014/main" id="{DBF40C3F-D451-490C-B81C-F85C1737C158}"/>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Kokybės užtikrinimas</a:t>
              </a:r>
            </a:p>
          </p:txBody>
        </p:sp>
        <p:cxnSp>
          <p:nvCxnSpPr>
            <p:cNvPr id="51" name="Straight Arrow Connector 50">
              <a:extLst>
                <a:ext uri="{FF2B5EF4-FFF2-40B4-BE49-F238E27FC236}">
                  <a16:creationId xmlns:a16="http://schemas.microsoft.com/office/drawing/2014/main" id="{7479AB89-6B83-46C1-96CB-2EA50C2AC17B}"/>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53" name="TextBox 52">
            <a:extLst>
              <a:ext uri="{FF2B5EF4-FFF2-40B4-BE49-F238E27FC236}">
                <a16:creationId xmlns:a16="http://schemas.microsoft.com/office/drawing/2014/main" id="{A347CF0E-C2E2-44BD-81B2-6E6C77E718A9}"/>
              </a:ext>
            </a:extLst>
          </p:cNvPr>
          <p:cNvSpPr txBox="1"/>
          <p:nvPr/>
        </p:nvSpPr>
        <p:spPr>
          <a:xfrm>
            <a:off x="411558" y="1320873"/>
            <a:ext cx="3152330" cy="12234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Clr>
                <a:schemeClr val="accent6"/>
              </a:buClr>
              <a:buFont typeface="Arial" panose="020B0604020202020204" pitchFamily="34" charset="0"/>
              <a:buChar char="•"/>
            </a:pPr>
            <a:r>
              <a:rPr lang="lt-LT" sz="1050">
                <a:cs typeface="Calibri"/>
              </a:rPr>
              <a:t>Švietimo centrai</a:t>
            </a:r>
          </a:p>
          <a:p>
            <a:pPr marL="171450" indent="-171450">
              <a:buClr>
                <a:schemeClr val="accent6"/>
              </a:buClr>
              <a:buFont typeface="Arial" panose="020B0604020202020204" pitchFamily="34" charset="0"/>
              <a:buChar char="•"/>
            </a:pPr>
            <a:r>
              <a:rPr lang="lt-LT" sz="1050">
                <a:cs typeface="Calibri"/>
              </a:rPr>
              <a:t>Profesinio tobulėjimo tarnyba mokytojams</a:t>
            </a:r>
          </a:p>
          <a:p>
            <a:pPr marL="171450" indent="-171450">
              <a:buClr>
                <a:schemeClr val="accent6"/>
              </a:buClr>
              <a:buFont typeface="Arial" panose="020B0604020202020204" pitchFamily="34" charset="0"/>
              <a:buChar char="•"/>
            </a:pPr>
            <a:r>
              <a:rPr lang="lt-LT" sz="1050">
                <a:cs typeface="Calibri"/>
              </a:rPr>
              <a:t>Mokytojų rengimo skyrius</a:t>
            </a:r>
          </a:p>
          <a:p>
            <a:pPr marL="171450" indent="-171450">
              <a:buClr>
                <a:schemeClr val="accent6"/>
              </a:buClr>
              <a:buFont typeface="Arial" panose="020B0604020202020204" pitchFamily="34" charset="0"/>
              <a:buChar char="•"/>
            </a:pPr>
            <a:r>
              <a:rPr lang="lt-LT" sz="1050">
                <a:cs typeface="Calibri"/>
              </a:rPr>
              <a:t>Jaunesniųjų mokytojų ciklas</a:t>
            </a:r>
          </a:p>
          <a:p>
            <a:pPr marL="171450" indent="-171450">
              <a:buClr>
                <a:schemeClr val="accent6"/>
              </a:buClr>
              <a:buFont typeface="Arial" panose="020B0604020202020204" pitchFamily="34" charset="0"/>
              <a:buChar char="•"/>
            </a:pPr>
            <a:r>
              <a:rPr lang="lt-LT" sz="1050">
                <a:cs typeface="Calibri"/>
              </a:rPr>
              <a:t>Aukštosios mokyklos</a:t>
            </a:r>
          </a:p>
          <a:p>
            <a:pPr marL="171450" indent="-171450">
              <a:buClr>
                <a:schemeClr val="accent6"/>
              </a:buClr>
              <a:buFont typeface="Arial" panose="020B0604020202020204" pitchFamily="34" charset="0"/>
              <a:buChar char="•"/>
            </a:pPr>
            <a:r>
              <a:rPr lang="lt-LT" sz="1050">
                <a:cs typeface="Calibri"/>
              </a:rPr>
              <a:t>Švietimo kolegijos</a:t>
            </a:r>
          </a:p>
          <a:p>
            <a:pPr marL="171450" indent="-171450">
              <a:buClr>
                <a:schemeClr val="accent6"/>
              </a:buClr>
              <a:buFont typeface="Arial" panose="020B0604020202020204" pitchFamily="34" charset="0"/>
              <a:buChar char="•"/>
            </a:pPr>
            <a:r>
              <a:rPr lang="lt-LT" sz="1050">
                <a:cs typeface="Calibri"/>
              </a:rPr>
              <a:t>Privatūs teikėjai</a:t>
            </a:r>
          </a:p>
        </p:txBody>
      </p:sp>
      <p:sp>
        <p:nvSpPr>
          <p:cNvPr id="2" name="TextBox 1">
            <a:extLst>
              <a:ext uri="{FF2B5EF4-FFF2-40B4-BE49-F238E27FC236}">
                <a16:creationId xmlns:a16="http://schemas.microsoft.com/office/drawing/2014/main" id="{CD8CF473-A24A-4CF8-9BAD-D2F5AB51982D}"/>
              </a:ext>
            </a:extLst>
          </p:cNvPr>
          <p:cNvSpPr txBox="1"/>
          <p:nvPr/>
        </p:nvSpPr>
        <p:spPr>
          <a:xfrm>
            <a:off x="4356660" y="1328108"/>
            <a:ext cx="3687302" cy="12234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lt-LT" sz="1050">
                <a:cs typeface="Calibri"/>
              </a:rPr>
              <a:t>Nacionalinis švietimo centrų tinklas yra remiamas, o atitinkamos grupės, įstaigos ir institucijos yra įgaliotos rengti ir vykdyti PKT programas, iš kurių mokytojai gali pasirinkti savo poreikius atitinkančias veiklas. </a:t>
            </a:r>
            <a:r>
              <a:rPr lang="lt-LT" sz="1050" b="1">
                <a:cs typeface="Calibri"/>
              </a:rPr>
              <a:t>Nors mokytojams nėra privaloma dalyvauti šių įstaigų organizuojamuose PKT renginiuose, mokytojai yra skatinami dalyvauti, o įstatymuose nurodytų teikėjų PKT veiklos pedagogams yra nemokamos.</a:t>
            </a:r>
            <a:endParaRPr lang="en-GB" sz="1050" b="1">
              <a:cs typeface="Calibri"/>
            </a:endParaRPr>
          </a:p>
        </p:txBody>
      </p:sp>
      <p:grpSp>
        <p:nvGrpSpPr>
          <p:cNvPr id="16" name="Group 15">
            <a:extLst>
              <a:ext uri="{FF2B5EF4-FFF2-40B4-BE49-F238E27FC236}">
                <a16:creationId xmlns:a16="http://schemas.microsoft.com/office/drawing/2014/main" id="{C1406930-A32C-4E1E-9552-17D94B020CB8}"/>
              </a:ext>
            </a:extLst>
          </p:cNvPr>
          <p:cNvGrpSpPr/>
          <p:nvPr/>
        </p:nvGrpSpPr>
        <p:grpSpPr>
          <a:xfrm>
            <a:off x="4578128" y="3122563"/>
            <a:ext cx="3617159" cy="1422909"/>
            <a:chOff x="4763766" y="3175602"/>
            <a:chExt cx="3617159" cy="1422909"/>
          </a:xfrm>
        </p:grpSpPr>
        <p:sp>
          <p:nvSpPr>
            <p:cNvPr id="12" name="Rectangle 11">
              <a:extLst>
                <a:ext uri="{FF2B5EF4-FFF2-40B4-BE49-F238E27FC236}">
                  <a16:creationId xmlns:a16="http://schemas.microsoft.com/office/drawing/2014/main" id="{3E1D51AD-7782-457D-9BE6-0FEEA17019F8}"/>
                </a:ext>
              </a:extLst>
            </p:cNvPr>
            <p:cNvSpPr/>
            <p:nvPr/>
          </p:nvSpPr>
          <p:spPr>
            <a:xfrm>
              <a:off x="4765364" y="3175602"/>
              <a:ext cx="3615561" cy="19736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Vidinė</a:t>
              </a:r>
            </a:p>
          </p:txBody>
        </p:sp>
        <p:sp>
          <p:nvSpPr>
            <p:cNvPr id="48" name="Rectangle 47">
              <a:extLst>
                <a:ext uri="{FF2B5EF4-FFF2-40B4-BE49-F238E27FC236}">
                  <a16:creationId xmlns:a16="http://schemas.microsoft.com/office/drawing/2014/main" id="{8E65E5A1-D897-451C-A948-D34178B37D20}"/>
                </a:ext>
              </a:extLst>
            </p:cNvPr>
            <p:cNvSpPr/>
            <p:nvPr/>
          </p:nvSpPr>
          <p:spPr>
            <a:xfrm>
              <a:off x="4763766" y="3429618"/>
              <a:ext cx="3615561" cy="11688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rgbClr val="000000"/>
                  </a:solidFill>
                  <a:ea typeface="+mn-lt"/>
                  <a:cs typeface="+mn-lt"/>
                </a:rPr>
                <a:t>Airijoje veikia išplėtota </a:t>
              </a:r>
              <a:r>
                <a:rPr lang="lt-LT" sz="1050" i="1" noProof="1">
                  <a:solidFill>
                    <a:srgbClr val="000000"/>
                  </a:solidFill>
                  <a:ea typeface="+mn-lt"/>
                  <a:cs typeface="+mn-lt"/>
                </a:rPr>
                <a:t>Cosán</a:t>
              </a:r>
              <a:r>
                <a:rPr lang="lt-LT" sz="1050" noProof="1">
                  <a:solidFill>
                    <a:srgbClr val="000000"/>
                  </a:solidFill>
                  <a:ea typeface="+mn-lt"/>
                  <a:cs typeface="+mn-lt"/>
                </a:rPr>
                <a:t> sistema, padedanti mokytojams reflektuoti savo patirtis PKT veiklose ir įvertinti jų poveikį savo profesinei veiklai. Siūlomi skirtingi refleksijos ir įsivertinimo metodai. </a:t>
              </a:r>
            </a:p>
          </p:txBody>
        </p:sp>
      </p:grpSp>
      <p:grpSp>
        <p:nvGrpSpPr>
          <p:cNvPr id="52" name="Group 51">
            <a:extLst>
              <a:ext uri="{FF2B5EF4-FFF2-40B4-BE49-F238E27FC236}">
                <a16:creationId xmlns:a16="http://schemas.microsoft.com/office/drawing/2014/main" id="{96624199-4701-4C79-8154-921E7CA09689}"/>
              </a:ext>
            </a:extLst>
          </p:cNvPr>
          <p:cNvGrpSpPr/>
          <p:nvPr/>
        </p:nvGrpSpPr>
        <p:grpSpPr>
          <a:xfrm>
            <a:off x="483483" y="3122563"/>
            <a:ext cx="3617159" cy="1417604"/>
            <a:chOff x="4763766" y="3175602"/>
            <a:chExt cx="3617159" cy="1417604"/>
          </a:xfrm>
        </p:grpSpPr>
        <p:sp>
          <p:nvSpPr>
            <p:cNvPr id="54" name="Rectangle 53">
              <a:extLst>
                <a:ext uri="{FF2B5EF4-FFF2-40B4-BE49-F238E27FC236}">
                  <a16:creationId xmlns:a16="http://schemas.microsoft.com/office/drawing/2014/main" id="{D67A3999-F853-4978-9A88-F0FE42E9F15B}"/>
                </a:ext>
              </a:extLst>
            </p:cNvPr>
            <p:cNvSpPr/>
            <p:nvPr/>
          </p:nvSpPr>
          <p:spPr>
            <a:xfrm>
              <a:off x="4765364" y="3175602"/>
              <a:ext cx="3615561" cy="19736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Išorinė</a:t>
              </a:r>
            </a:p>
          </p:txBody>
        </p:sp>
        <p:sp>
          <p:nvSpPr>
            <p:cNvPr id="56" name="Rectangle 55">
              <a:extLst>
                <a:ext uri="{FF2B5EF4-FFF2-40B4-BE49-F238E27FC236}">
                  <a16:creationId xmlns:a16="http://schemas.microsoft.com/office/drawing/2014/main" id="{A564C084-E763-420B-8F8C-C44512C660C1}"/>
                </a:ext>
              </a:extLst>
            </p:cNvPr>
            <p:cNvSpPr/>
            <p:nvPr/>
          </p:nvSpPr>
          <p:spPr>
            <a:xfrm>
              <a:off x="4763766" y="3429618"/>
              <a:ext cx="3615561" cy="1163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rgbClr val="000000"/>
                  </a:solidFill>
                  <a:ea typeface="+mn-lt"/>
                  <a:cs typeface="+mn-lt"/>
                </a:rPr>
                <a:t>Švietimo departamento užsakymu vykdomi tyrimai, skirti PKT vertinimo sistemos plėtrai. Įvykdyta dokumentų ir duomenų analizė, mokytojų ir direktorių apklausos dėl PKT sistemos kokybės, naudos ir pasitenkinimo, o kitos projekto dalys bus įvykdytos iki 2022 m.</a:t>
              </a:r>
            </a:p>
          </p:txBody>
        </p:sp>
      </p:grpSp>
      <p:sp>
        <p:nvSpPr>
          <p:cNvPr id="17" name="TextBox 16">
            <a:extLst>
              <a:ext uri="{FF2B5EF4-FFF2-40B4-BE49-F238E27FC236}">
                <a16:creationId xmlns:a16="http://schemas.microsoft.com/office/drawing/2014/main" id="{5325A1A7-0F0C-44F3-8DFD-586133FCFBC2}"/>
              </a:ext>
            </a:extLst>
          </p:cNvPr>
          <p:cNvSpPr txBox="1"/>
          <p:nvPr/>
        </p:nvSpPr>
        <p:spPr>
          <a:xfrm>
            <a:off x="405221" y="4982525"/>
            <a:ext cx="8036536" cy="12234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Clr>
                <a:schemeClr val="accent6"/>
              </a:buClr>
              <a:buFont typeface="Arial" panose="020B0604020202020204" pitchFamily="34" charset="0"/>
              <a:buChar char="•"/>
            </a:pPr>
            <a:r>
              <a:rPr lang="lt-LT" sz="1050">
                <a:cs typeface="Calibri"/>
              </a:rPr>
              <a:t>Mokymo taryba peržiūri ir akredituoja valstybės finansuojamas PKT programas.</a:t>
            </a:r>
          </a:p>
          <a:p>
            <a:pPr marL="171450" indent="-171450">
              <a:buClr>
                <a:schemeClr val="accent6"/>
              </a:buClr>
              <a:buFont typeface="Arial" panose="020B0604020202020204" pitchFamily="34" charset="0"/>
              <a:buChar char="•"/>
            </a:pPr>
            <a:r>
              <a:rPr lang="lt-LT" sz="1050">
                <a:cs typeface="Calibri"/>
              </a:rPr>
              <a:t>Airijos kokybės ir kvalifikacijos agentūra yra atsakinga už Airijos švietimo ir mokymo paslaugų kokybės ir atskaitomybės skatinimą, ji nustato švietimo ir mokymo standartus, stebi ir peržiūri teikėjus.</a:t>
            </a:r>
          </a:p>
          <a:p>
            <a:pPr marL="171450" indent="-171450">
              <a:buClr>
                <a:schemeClr val="accent6"/>
              </a:buClr>
              <a:buFont typeface="Arial" panose="020B0604020202020204" pitchFamily="34" charset="0"/>
              <a:buChar char="•"/>
            </a:pPr>
            <a:r>
              <a:rPr lang="lt-LT" sz="1050">
                <a:cs typeface="Calibri"/>
              </a:rPr>
              <a:t>Patys PKT teikėjai yra atsakingi už savo vidinės kokybės užtikrinimo sistemos kūrimą ir įgyvendinimą.</a:t>
            </a:r>
          </a:p>
          <a:p>
            <a:pPr marL="171450" indent="-171450">
              <a:buClr>
                <a:schemeClr val="accent6"/>
              </a:buClr>
              <a:buFont typeface="Arial" panose="020B0604020202020204" pitchFamily="34" charset="0"/>
              <a:buChar char="•"/>
            </a:pPr>
            <a:r>
              <a:rPr lang="lt-LT" sz="1050" i="1" err="1">
                <a:cs typeface="Calibri"/>
              </a:rPr>
              <a:t>Cosán</a:t>
            </a:r>
            <a:r>
              <a:rPr lang="lt-LT" sz="1050">
                <a:cs typeface="Calibri"/>
              </a:rPr>
              <a:t> sistema skatina mokytojus būti </a:t>
            </a:r>
            <a:r>
              <a:rPr lang="lt-LT" sz="1050" err="1">
                <a:cs typeface="Calibri"/>
              </a:rPr>
              <a:t>reflektyviais</a:t>
            </a:r>
            <a:r>
              <a:rPr lang="lt-LT" sz="1050">
                <a:cs typeface="Calibri"/>
              </a:rPr>
              <a:t> – tikslingai apmąstyti savo mokymosi poreikius, pasirinktų PKT veiklų kokybę ir tinkamumą, tų veiklų įtaką pedagogų profesinei veiklai ir mokinių mokymuisi. Tai mokytojai gali padaryti remdamiesi </a:t>
            </a:r>
            <a:r>
              <a:rPr lang="lt-LT" sz="1050" i="1" err="1">
                <a:cs typeface="Calibri"/>
              </a:rPr>
              <a:t>Cosán</a:t>
            </a:r>
            <a:r>
              <a:rPr lang="lt-LT" sz="1050">
                <a:cs typeface="Calibri"/>
              </a:rPr>
              <a:t> pateikiamais refleksijos bei kokybės vertinimo metodais.</a:t>
            </a:r>
          </a:p>
        </p:txBody>
      </p:sp>
    </p:spTree>
    <p:extLst>
      <p:ext uri="{BB962C8B-B14F-4D97-AF65-F5344CB8AC3E}">
        <p14:creationId xmlns:p14="http://schemas.microsoft.com/office/powerpoint/2010/main" val="25703528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F8238-EEE4-4D16-82AB-C67DC2650547}"/>
              </a:ext>
            </a:extLst>
          </p:cNvPr>
          <p:cNvSpPr>
            <a:spLocks noGrp="1"/>
          </p:cNvSpPr>
          <p:nvPr>
            <p:ph type="title"/>
          </p:nvPr>
        </p:nvSpPr>
        <p:spPr/>
        <p:txBody>
          <a:bodyPr>
            <a:normAutofit/>
          </a:bodyPr>
          <a:lstStyle/>
          <a:p>
            <a:pPr algn="just"/>
            <a:r>
              <a:rPr lang="en-GB" dirty="0" err="1"/>
              <a:t>Lietuvos</a:t>
            </a:r>
            <a:r>
              <a:rPr lang="en-GB" dirty="0"/>
              <a:t> </a:t>
            </a:r>
            <a:r>
              <a:rPr lang="en-GB" dirty="0" err="1"/>
              <a:t>ir</a:t>
            </a:r>
            <a:r>
              <a:rPr lang="en-GB" dirty="0"/>
              <a:t> </a:t>
            </a:r>
            <a:r>
              <a:rPr lang="en-GB" dirty="0" err="1"/>
              <a:t>analizuo</a:t>
            </a:r>
            <a:r>
              <a:rPr lang="lt-LT" dirty="0"/>
              <a:t>tų užsienio šalių PKT sistemų palyginimas</a:t>
            </a:r>
            <a:endParaRPr lang="en-GB" dirty="0"/>
          </a:p>
        </p:txBody>
      </p:sp>
      <p:graphicFrame>
        <p:nvGraphicFramePr>
          <p:cNvPr id="5" name="Table 5">
            <a:extLst>
              <a:ext uri="{FF2B5EF4-FFF2-40B4-BE49-F238E27FC236}">
                <a16:creationId xmlns:a16="http://schemas.microsoft.com/office/drawing/2014/main" id="{97846D81-74FF-458F-853F-6E676F9A879F}"/>
              </a:ext>
            </a:extLst>
          </p:cNvPr>
          <p:cNvGraphicFramePr>
            <a:graphicFrameLocks noGrp="1"/>
          </p:cNvGraphicFramePr>
          <p:nvPr>
            <p:extLst>
              <p:ext uri="{D42A27DB-BD31-4B8C-83A1-F6EECF244321}">
                <p14:modId xmlns:p14="http://schemas.microsoft.com/office/powerpoint/2010/main" val="1450617259"/>
              </p:ext>
            </p:extLst>
          </p:nvPr>
        </p:nvGraphicFramePr>
        <p:xfrm>
          <a:off x="395287" y="1015903"/>
          <a:ext cx="8353427" cy="4709345"/>
        </p:xfrm>
        <a:graphic>
          <a:graphicData uri="http://schemas.openxmlformats.org/drawingml/2006/table">
            <a:tbl>
              <a:tblPr firstRow="1" bandRow="1">
                <a:tableStyleId>{5C22544A-7EE6-4342-B048-85BDC9FD1C3A}</a:tableStyleId>
              </a:tblPr>
              <a:tblGrid>
                <a:gridCol w="1152377">
                  <a:extLst>
                    <a:ext uri="{9D8B030D-6E8A-4147-A177-3AD203B41FA5}">
                      <a16:colId xmlns:a16="http://schemas.microsoft.com/office/drawing/2014/main" val="485513301"/>
                    </a:ext>
                  </a:extLst>
                </a:gridCol>
                <a:gridCol w="1152128">
                  <a:extLst>
                    <a:ext uri="{9D8B030D-6E8A-4147-A177-3AD203B41FA5}">
                      <a16:colId xmlns:a16="http://schemas.microsoft.com/office/drawing/2014/main" val="4040053483"/>
                    </a:ext>
                  </a:extLst>
                </a:gridCol>
                <a:gridCol w="1440160">
                  <a:extLst>
                    <a:ext uri="{9D8B030D-6E8A-4147-A177-3AD203B41FA5}">
                      <a16:colId xmlns:a16="http://schemas.microsoft.com/office/drawing/2014/main" val="3164692422"/>
                    </a:ext>
                  </a:extLst>
                </a:gridCol>
                <a:gridCol w="1584176">
                  <a:extLst>
                    <a:ext uri="{9D8B030D-6E8A-4147-A177-3AD203B41FA5}">
                      <a16:colId xmlns:a16="http://schemas.microsoft.com/office/drawing/2014/main" val="4139496166"/>
                    </a:ext>
                  </a:extLst>
                </a:gridCol>
                <a:gridCol w="1368152">
                  <a:extLst>
                    <a:ext uri="{9D8B030D-6E8A-4147-A177-3AD203B41FA5}">
                      <a16:colId xmlns:a16="http://schemas.microsoft.com/office/drawing/2014/main" val="673757102"/>
                    </a:ext>
                  </a:extLst>
                </a:gridCol>
                <a:gridCol w="1656434">
                  <a:extLst>
                    <a:ext uri="{9D8B030D-6E8A-4147-A177-3AD203B41FA5}">
                      <a16:colId xmlns:a16="http://schemas.microsoft.com/office/drawing/2014/main" val="148074363"/>
                    </a:ext>
                  </a:extLst>
                </a:gridCol>
              </a:tblGrid>
              <a:tr h="231800">
                <a:tc>
                  <a:txBody>
                    <a:bodyPr/>
                    <a:lstStyle/>
                    <a:p>
                      <a:pPr algn="ctr"/>
                      <a:r>
                        <a:rPr lang="lt-LT" sz="900">
                          <a:latin typeface="+mn-lt"/>
                        </a:rPr>
                        <a:t>Funkcija / Šalis</a:t>
                      </a:r>
                      <a:endParaRPr lang="en-GB" sz="900">
                        <a:latin typeface="+mn-lt"/>
                      </a:endParaRPr>
                    </a:p>
                  </a:txBody>
                  <a:tcPr>
                    <a:solidFill>
                      <a:schemeClr val="bg1">
                        <a:lumMod val="50000"/>
                      </a:schemeClr>
                    </a:solidFill>
                  </a:tcPr>
                </a:tc>
                <a:tc>
                  <a:txBody>
                    <a:bodyPr/>
                    <a:lstStyle/>
                    <a:p>
                      <a:pPr algn="ctr">
                        <a:lnSpc>
                          <a:spcPct val="100000"/>
                        </a:lnSpc>
                        <a:spcBef>
                          <a:spcPts val="100"/>
                        </a:spcBef>
                        <a:spcAft>
                          <a:spcPts val="100"/>
                        </a:spcAft>
                      </a:pPr>
                      <a:r>
                        <a:rPr lang="lt-LT" sz="900">
                          <a:solidFill>
                            <a:schemeClr val="tx1"/>
                          </a:solidFill>
                          <a:effectLst/>
                          <a:latin typeface="+mn-lt"/>
                        </a:rPr>
                        <a:t>Lietuva</a:t>
                      </a:r>
                      <a:endParaRPr lang="lt-LT" sz="900">
                        <a:solidFill>
                          <a:schemeClr val="tx1"/>
                        </a:solidFill>
                        <a:effectLst/>
                        <a:latin typeface="+mn-lt"/>
                        <a:ea typeface="Calibri" panose="020F0502020204030204" pitchFamily="34" charset="0"/>
                        <a:cs typeface="Times New Roman" panose="02020603050405020304" pitchFamily="18" charset="0"/>
                      </a:endParaRPr>
                    </a:p>
                  </a:txBody>
                  <a:tcPr marL="72000" marR="72000" marT="36000" marB="36000">
                    <a:solidFill>
                      <a:schemeClr val="accent6"/>
                    </a:solidFill>
                  </a:tcPr>
                </a:tc>
                <a:tc>
                  <a:txBody>
                    <a:bodyPr/>
                    <a:lstStyle/>
                    <a:p>
                      <a:pPr algn="ctr">
                        <a:lnSpc>
                          <a:spcPct val="100000"/>
                        </a:lnSpc>
                        <a:spcBef>
                          <a:spcPts val="100"/>
                        </a:spcBef>
                        <a:spcAft>
                          <a:spcPts val="100"/>
                        </a:spcAft>
                      </a:pPr>
                      <a:r>
                        <a:rPr lang="lt-LT" sz="900">
                          <a:effectLst/>
                          <a:latin typeface="+mn-lt"/>
                        </a:rPr>
                        <a:t>Estija</a:t>
                      </a:r>
                      <a:endParaRPr lang="lt-LT" sz="900">
                        <a:solidFill>
                          <a:srgbClr val="000000"/>
                        </a:solidFill>
                        <a:effectLst/>
                        <a:latin typeface="+mn-lt"/>
                        <a:ea typeface="Calibri" panose="020F0502020204030204" pitchFamily="34" charset="0"/>
                        <a:cs typeface="Times New Roman" panose="02020603050405020304" pitchFamily="18" charset="0"/>
                      </a:endParaRPr>
                    </a:p>
                  </a:txBody>
                  <a:tcPr marL="72000" marR="72000" marT="36000" marB="36000">
                    <a:solidFill>
                      <a:schemeClr val="bg1">
                        <a:lumMod val="50000"/>
                      </a:schemeClr>
                    </a:solidFill>
                  </a:tcPr>
                </a:tc>
                <a:tc>
                  <a:txBody>
                    <a:bodyPr/>
                    <a:lstStyle/>
                    <a:p>
                      <a:pPr algn="ctr">
                        <a:lnSpc>
                          <a:spcPct val="100000"/>
                        </a:lnSpc>
                        <a:spcBef>
                          <a:spcPts val="100"/>
                        </a:spcBef>
                        <a:spcAft>
                          <a:spcPts val="100"/>
                        </a:spcAft>
                      </a:pPr>
                      <a:r>
                        <a:rPr lang="lt-LT" sz="900">
                          <a:effectLst/>
                          <a:latin typeface="+mn-lt"/>
                        </a:rPr>
                        <a:t>Suomija</a:t>
                      </a:r>
                      <a:endParaRPr lang="lt-LT" sz="900">
                        <a:solidFill>
                          <a:srgbClr val="000000"/>
                        </a:solidFill>
                        <a:effectLst/>
                        <a:latin typeface="+mn-lt"/>
                        <a:ea typeface="Calibri" panose="020F0502020204030204" pitchFamily="34" charset="0"/>
                        <a:cs typeface="Times New Roman" panose="02020603050405020304" pitchFamily="18" charset="0"/>
                      </a:endParaRPr>
                    </a:p>
                  </a:txBody>
                  <a:tcPr marL="72000" marR="72000" marT="36000" marB="36000">
                    <a:solidFill>
                      <a:schemeClr val="bg1">
                        <a:lumMod val="50000"/>
                      </a:schemeClr>
                    </a:solidFill>
                  </a:tcPr>
                </a:tc>
                <a:tc>
                  <a:txBody>
                    <a:bodyPr/>
                    <a:lstStyle/>
                    <a:p>
                      <a:pPr algn="ctr">
                        <a:lnSpc>
                          <a:spcPct val="100000"/>
                        </a:lnSpc>
                        <a:spcBef>
                          <a:spcPts val="100"/>
                        </a:spcBef>
                        <a:spcAft>
                          <a:spcPts val="100"/>
                        </a:spcAft>
                      </a:pPr>
                      <a:r>
                        <a:rPr lang="lt-LT" sz="900" dirty="0">
                          <a:effectLst/>
                          <a:latin typeface="+mn-lt"/>
                        </a:rPr>
                        <a:t>Nyderlandai</a:t>
                      </a:r>
                      <a:endParaRPr lang="lt-LT" sz="900" dirty="0">
                        <a:solidFill>
                          <a:srgbClr val="000000"/>
                        </a:solidFill>
                        <a:effectLst/>
                        <a:latin typeface="+mn-lt"/>
                        <a:ea typeface="Calibri" panose="020F0502020204030204" pitchFamily="34" charset="0"/>
                        <a:cs typeface="Times New Roman" panose="02020603050405020304" pitchFamily="18" charset="0"/>
                      </a:endParaRPr>
                    </a:p>
                  </a:txBody>
                  <a:tcPr marL="72000" marR="72000" marT="36000" marB="36000">
                    <a:solidFill>
                      <a:schemeClr val="bg1">
                        <a:lumMod val="50000"/>
                      </a:schemeClr>
                    </a:solidFill>
                  </a:tcPr>
                </a:tc>
                <a:tc>
                  <a:txBody>
                    <a:bodyPr/>
                    <a:lstStyle/>
                    <a:p>
                      <a:pPr algn="ctr">
                        <a:lnSpc>
                          <a:spcPct val="100000"/>
                        </a:lnSpc>
                        <a:spcBef>
                          <a:spcPts val="100"/>
                        </a:spcBef>
                        <a:spcAft>
                          <a:spcPts val="100"/>
                        </a:spcAft>
                      </a:pPr>
                      <a:r>
                        <a:rPr lang="lt-LT" sz="900">
                          <a:solidFill>
                            <a:schemeClr val="bg1"/>
                          </a:solidFill>
                          <a:effectLst/>
                          <a:latin typeface="+mn-lt"/>
                          <a:ea typeface="Calibri" panose="020F0502020204030204" pitchFamily="34" charset="0"/>
                          <a:cs typeface="Times New Roman" panose="02020603050405020304" pitchFamily="18" charset="0"/>
                        </a:rPr>
                        <a:t>Airija</a:t>
                      </a:r>
                    </a:p>
                  </a:txBody>
                  <a:tcPr marL="72000" marR="72000" marT="36000" marB="36000">
                    <a:solidFill>
                      <a:schemeClr val="bg1">
                        <a:lumMod val="50000"/>
                      </a:schemeClr>
                    </a:solidFill>
                  </a:tcPr>
                </a:tc>
                <a:extLst>
                  <a:ext uri="{0D108BD9-81ED-4DB2-BD59-A6C34878D82A}">
                    <a16:rowId xmlns:a16="http://schemas.microsoft.com/office/drawing/2014/main" val="840888358"/>
                  </a:ext>
                </a:extLst>
              </a:tr>
              <a:tr h="806715">
                <a:tc>
                  <a:txBody>
                    <a:bodyPr/>
                    <a:lstStyle/>
                    <a:p>
                      <a:pPr algn="l"/>
                      <a:r>
                        <a:rPr lang="lt-LT" sz="900" b="1" noProof="0">
                          <a:latin typeface="+mn-lt"/>
                        </a:rPr>
                        <a:t>Finansavimas</a:t>
                      </a:r>
                    </a:p>
                  </a:txBody>
                  <a:tcPr anchor="ctr">
                    <a:solidFill>
                      <a:schemeClr val="bg1">
                        <a:lumMod val="95000"/>
                      </a:schemeClr>
                    </a:solidFill>
                  </a:tcP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ŠMSM</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Savivaldybė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Mokyklo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edagogai</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solidFill>
                      <a:schemeClr val="bg1">
                        <a:lumMod val="95000"/>
                      </a:schemeClr>
                    </a:solidFill>
                  </a:tcP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Švietimo ir mokslo ministerija</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Savivaldybės</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solidFill>
                      <a:schemeClr val="bg1">
                        <a:lumMod val="95000"/>
                      </a:schemeClr>
                    </a:solidFill>
                  </a:tcP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Švietimo ir kultūros ministerija</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Suomijos nacionalinė švietimo agentūra</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solidFill>
                      <a:schemeClr val="bg1">
                        <a:lumMod val="95000"/>
                      </a:schemeClr>
                    </a:solidFill>
                  </a:tcP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Švietimo, kultūros ir mokslo ministerija</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solidFill>
                      <a:schemeClr val="bg1">
                        <a:lumMod val="95000"/>
                      </a:schemeClr>
                    </a:solidFill>
                  </a:tcP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Švietimo departamenta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Mokytojų rengimo skyriu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Mokykla</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solidFill>
                      <a:schemeClr val="bg1">
                        <a:lumMod val="95000"/>
                      </a:schemeClr>
                    </a:solidFill>
                  </a:tcPr>
                </a:tc>
                <a:extLst>
                  <a:ext uri="{0D108BD9-81ED-4DB2-BD59-A6C34878D82A}">
                    <a16:rowId xmlns:a16="http://schemas.microsoft.com/office/drawing/2014/main" val="3308333490"/>
                  </a:ext>
                </a:extLst>
              </a:tr>
              <a:tr h="806715">
                <a:tc>
                  <a:txBody>
                    <a:bodyPr/>
                    <a:lstStyle/>
                    <a:p>
                      <a:pPr algn="l"/>
                      <a:r>
                        <a:rPr lang="lt-LT" sz="900" b="1">
                          <a:latin typeface="+mn-lt"/>
                        </a:rPr>
                        <a:t>Poreikių vertinimas</a:t>
                      </a:r>
                      <a:endParaRPr lang="en-GB" sz="900" b="1">
                        <a:latin typeface="+mn-lt"/>
                      </a:endParaRPr>
                    </a:p>
                  </a:txBody>
                  <a:tcPr anchor="ct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ŠMSM</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Savivaldybė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Mokyklo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edagogai</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KT teikėjai</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Švietimo ir mokslo ministerija</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Mokykla</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edagogai</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Suomijos nacionalinė švietimo agentūra</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Savivaldybė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Mokykla </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edagogai</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edagogai</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Mokykla</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KT teikėjai</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Nacionalinė ugdymo turinio ir vertinimo taryba</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Mokytojų rengimo skyriu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Mokykla </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edagogai</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tc>
                <a:extLst>
                  <a:ext uri="{0D108BD9-81ED-4DB2-BD59-A6C34878D82A}">
                    <a16:rowId xmlns:a16="http://schemas.microsoft.com/office/drawing/2014/main" val="767259665"/>
                  </a:ext>
                </a:extLst>
              </a:tr>
              <a:tr h="806715">
                <a:tc>
                  <a:txBody>
                    <a:bodyPr/>
                    <a:lstStyle/>
                    <a:p>
                      <a:pPr algn="l"/>
                      <a:r>
                        <a:rPr lang="lt-LT" sz="900" b="1">
                          <a:latin typeface="+mn-lt"/>
                        </a:rPr>
                        <a:t>Programų rengimas ir vykdymas</a:t>
                      </a:r>
                      <a:endParaRPr lang="en-GB" sz="900" b="1">
                        <a:latin typeface="+mn-lt"/>
                      </a:endParaRPr>
                    </a:p>
                  </a:txBody>
                  <a:tcPr anchor="ctr">
                    <a:solidFill>
                      <a:schemeClr val="bg1">
                        <a:lumMod val="95000"/>
                      </a:schemeClr>
                    </a:solidFill>
                  </a:tcP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Aukštosios mokyklo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Švietimo centrai</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rivačios įstaigo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Nevyriausybinės organizacijos</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solidFill>
                      <a:schemeClr val="bg1">
                        <a:lumMod val="95000"/>
                      </a:schemeClr>
                    </a:solidFill>
                  </a:tcP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Aukštosios mokyklo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Mokyklo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Mokytojų profesinės organizacijo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Savivaldybė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rivačios įstaigos</a:t>
                      </a:r>
                      <a:endParaRPr lang="en-GB" sz="900">
                        <a:solidFill>
                          <a:srgbClr val="000000"/>
                        </a:solidFill>
                        <a:effectLst/>
                        <a:latin typeface="+mn-lt"/>
                        <a:ea typeface="Calibri" panose="020F0502020204030204" pitchFamily="34" charset="0"/>
                        <a:cs typeface="Myanmar Text" panose="020B0502040204020203" pitchFamily="34" charset="0"/>
                      </a:endParaRPr>
                    </a:p>
                    <a:p>
                      <a:pPr marL="267335" indent="-179705" algn="l">
                        <a:lnSpc>
                          <a:spcPct val="100000"/>
                        </a:lnSpc>
                        <a:spcAft>
                          <a:spcPts val="0"/>
                        </a:spcAft>
                        <a:buClr>
                          <a:schemeClr val="accent6"/>
                        </a:buClr>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 </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solidFill>
                      <a:schemeClr val="bg1">
                        <a:lumMod val="95000"/>
                      </a:schemeClr>
                    </a:solidFill>
                  </a:tcP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Aukštosios mokyklo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rofesinio mokytojų rengimo kolegijo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rivačios organizacijos, registruotos organizacijos ar fondai</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Savivaldybės</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solidFill>
                      <a:schemeClr val="bg1">
                        <a:lumMod val="95000"/>
                      </a:schemeClr>
                    </a:solidFill>
                  </a:tcP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Aukštosios mokyklo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rofesiniai universitetai</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Kolegijo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Mokyklo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rivačios įstaigos</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solidFill>
                      <a:schemeClr val="bg1">
                        <a:lumMod val="95000"/>
                      </a:schemeClr>
                    </a:solidFill>
                  </a:tcP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Aukštosios mokyklo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Švietimo centrai</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rofesinio tobulėjimo tarnyba mokytojam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Mokytojų rengimo skyriu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Jaunesniųjų mokytojų cikla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Švietimo kolegijo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rivačios įstaigos</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solidFill>
                      <a:schemeClr val="bg1">
                        <a:lumMod val="95000"/>
                      </a:schemeClr>
                    </a:solidFill>
                  </a:tcPr>
                </a:tc>
                <a:extLst>
                  <a:ext uri="{0D108BD9-81ED-4DB2-BD59-A6C34878D82A}">
                    <a16:rowId xmlns:a16="http://schemas.microsoft.com/office/drawing/2014/main" val="468456380"/>
                  </a:ext>
                </a:extLst>
              </a:tr>
              <a:tr h="806715">
                <a:tc>
                  <a:txBody>
                    <a:bodyPr/>
                    <a:lstStyle/>
                    <a:p>
                      <a:pPr algn="l"/>
                      <a:r>
                        <a:rPr lang="lt-LT" sz="900" b="1">
                          <a:latin typeface="+mn-lt"/>
                        </a:rPr>
                        <a:t>Stebėsena</a:t>
                      </a:r>
                      <a:endParaRPr lang="en-GB" sz="900" b="1">
                        <a:latin typeface="+mn-lt"/>
                      </a:endParaRPr>
                    </a:p>
                  </a:txBody>
                  <a:tcPr anchor="ct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ŠMSM</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NŠA</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KT teikėjai</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edagogai</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Ministerijos išorinio vertinimo departamenta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edagogai</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Suomijos švietimo vertinimo centras</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Švietimo inspekcija</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Nyderlandų ir Flandrijos akreditacijos organizacija</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Mokymo Taryba</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Švietimo departamentas</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Inspekcija</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edagogai</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tc>
                <a:extLst>
                  <a:ext uri="{0D108BD9-81ED-4DB2-BD59-A6C34878D82A}">
                    <a16:rowId xmlns:a16="http://schemas.microsoft.com/office/drawing/2014/main" val="1438084311"/>
                  </a:ext>
                </a:extLst>
              </a:tr>
              <a:tr h="806715">
                <a:tc>
                  <a:txBody>
                    <a:bodyPr/>
                    <a:lstStyle/>
                    <a:p>
                      <a:pPr algn="l"/>
                      <a:r>
                        <a:rPr lang="lt-LT" sz="900" b="1">
                          <a:latin typeface="+mn-lt"/>
                        </a:rPr>
                        <a:t>Kokybės užtikrinimas</a:t>
                      </a:r>
                      <a:endParaRPr lang="en-GB" sz="900" b="1">
                        <a:latin typeface="+mn-lt"/>
                      </a:endParaRPr>
                    </a:p>
                  </a:txBody>
                  <a:tcPr anchor="ctr">
                    <a:solidFill>
                      <a:schemeClr val="bg1">
                        <a:lumMod val="95000"/>
                      </a:schemeClr>
                    </a:solidFill>
                  </a:tcP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KT teikėjai</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NŠA</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solidFill>
                      <a:schemeClr val="bg1">
                        <a:lumMod val="95000"/>
                      </a:schemeClr>
                    </a:solidFill>
                  </a:tcP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KT teikėjai</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solidFill>
                      <a:schemeClr val="bg1">
                        <a:lumMod val="95000"/>
                      </a:schemeClr>
                    </a:solidFill>
                  </a:tcP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PKT teikėjai</a:t>
                      </a:r>
                      <a:endParaRPr lang="en-GB" sz="90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a:solidFill>
                            <a:srgbClr val="000000"/>
                          </a:solidFill>
                          <a:effectLst/>
                          <a:latin typeface="+mn-lt"/>
                          <a:ea typeface="Calibri" panose="020F0502020204030204" pitchFamily="34" charset="0"/>
                          <a:cs typeface="Times New Roman" panose="02020603050405020304" pitchFamily="18" charset="0"/>
                        </a:rPr>
                        <a:t>Suomijos švietimo vertinimo centras</a:t>
                      </a:r>
                      <a:endParaRPr lang="en-GB" sz="90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solidFill>
                      <a:schemeClr val="bg1">
                        <a:lumMod val="95000"/>
                      </a:schemeClr>
                    </a:solidFill>
                  </a:tcP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dirty="0">
                          <a:solidFill>
                            <a:srgbClr val="000000"/>
                          </a:solidFill>
                          <a:effectLst/>
                          <a:latin typeface="+mn-lt"/>
                          <a:ea typeface="Calibri" panose="020F0502020204030204" pitchFamily="34" charset="0"/>
                          <a:cs typeface="Times New Roman" panose="02020603050405020304" pitchFamily="18" charset="0"/>
                        </a:rPr>
                        <a:t>PKT teikėjai</a:t>
                      </a:r>
                      <a:endParaRPr lang="en-GB" sz="900" dirty="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dirty="0">
                          <a:solidFill>
                            <a:srgbClr val="000000"/>
                          </a:solidFill>
                          <a:effectLst/>
                          <a:latin typeface="+mn-lt"/>
                          <a:ea typeface="Calibri" panose="020F0502020204030204" pitchFamily="34" charset="0"/>
                          <a:cs typeface="Times New Roman" panose="02020603050405020304" pitchFamily="18" charset="0"/>
                        </a:rPr>
                        <a:t>Švietimo inspekcija</a:t>
                      </a:r>
                      <a:endParaRPr lang="en-GB" sz="900" dirty="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dirty="0">
                          <a:solidFill>
                            <a:srgbClr val="000000"/>
                          </a:solidFill>
                          <a:effectLst/>
                          <a:latin typeface="+mn-lt"/>
                          <a:ea typeface="Calibri" panose="020F0502020204030204" pitchFamily="34" charset="0"/>
                          <a:cs typeface="Times New Roman" panose="02020603050405020304" pitchFamily="18" charset="0"/>
                        </a:rPr>
                        <a:t>Nyderlandų ir Flandrijos akreditacijos organizacija</a:t>
                      </a:r>
                      <a:endParaRPr lang="en-GB" sz="900" dirty="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dirty="0">
                          <a:solidFill>
                            <a:srgbClr val="000000"/>
                          </a:solidFill>
                          <a:effectLst/>
                          <a:latin typeface="+mn-lt"/>
                          <a:ea typeface="Calibri" panose="020F0502020204030204" pitchFamily="34" charset="0"/>
                          <a:cs typeface="Times New Roman" panose="02020603050405020304" pitchFamily="18" charset="0"/>
                        </a:rPr>
                        <a:t>Aukštosios mokyklos</a:t>
                      </a:r>
                      <a:endParaRPr lang="en-GB" sz="900" dirty="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solidFill>
                      <a:schemeClr val="bg1">
                        <a:lumMod val="95000"/>
                      </a:schemeClr>
                    </a:solidFill>
                  </a:tcPr>
                </a:tc>
                <a:tc>
                  <a:txBody>
                    <a:bodyPr/>
                    <a:lstStyle/>
                    <a:p>
                      <a:pPr marL="171450" lvl="0" indent="-171450" algn="l">
                        <a:lnSpc>
                          <a:spcPct val="100000"/>
                        </a:lnSpc>
                        <a:spcAft>
                          <a:spcPts val="0"/>
                        </a:spcAft>
                        <a:buClr>
                          <a:schemeClr val="accent6"/>
                        </a:buClr>
                        <a:buSzPts val="1100"/>
                        <a:buFont typeface="Arial" panose="020B0604020202020204" pitchFamily="34" charset="0"/>
                        <a:buChar char="•"/>
                      </a:pPr>
                      <a:r>
                        <a:rPr lang="lt-LT" sz="900" dirty="0">
                          <a:solidFill>
                            <a:srgbClr val="000000"/>
                          </a:solidFill>
                          <a:effectLst/>
                          <a:latin typeface="+mn-lt"/>
                          <a:ea typeface="Calibri" panose="020F0502020204030204" pitchFamily="34" charset="0"/>
                          <a:cs typeface="Times New Roman" panose="02020603050405020304" pitchFamily="18" charset="0"/>
                        </a:rPr>
                        <a:t>Mokymo Taryba</a:t>
                      </a:r>
                      <a:endParaRPr lang="en-GB" sz="900" dirty="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dirty="0">
                          <a:solidFill>
                            <a:srgbClr val="000000"/>
                          </a:solidFill>
                          <a:effectLst/>
                          <a:latin typeface="+mn-lt"/>
                          <a:ea typeface="Calibri" panose="020F0502020204030204" pitchFamily="34" charset="0"/>
                          <a:cs typeface="Times New Roman" panose="02020603050405020304" pitchFamily="18" charset="0"/>
                        </a:rPr>
                        <a:t>Airijos kokybės ir kvalifikacijos agentūra</a:t>
                      </a:r>
                      <a:endParaRPr lang="en-GB" sz="900" dirty="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dirty="0">
                          <a:solidFill>
                            <a:srgbClr val="000000"/>
                          </a:solidFill>
                          <a:effectLst/>
                          <a:latin typeface="+mn-lt"/>
                          <a:ea typeface="Calibri" panose="020F0502020204030204" pitchFamily="34" charset="0"/>
                          <a:cs typeface="Times New Roman" panose="02020603050405020304" pitchFamily="18" charset="0"/>
                        </a:rPr>
                        <a:t>Mokytojų rengimo skyrius</a:t>
                      </a:r>
                      <a:endParaRPr lang="en-GB" sz="900" dirty="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dirty="0">
                          <a:solidFill>
                            <a:srgbClr val="000000"/>
                          </a:solidFill>
                          <a:effectLst/>
                          <a:latin typeface="+mn-lt"/>
                          <a:ea typeface="Calibri" panose="020F0502020204030204" pitchFamily="34" charset="0"/>
                          <a:cs typeface="Times New Roman" panose="02020603050405020304" pitchFamily="18" charset="0"/>
                        </a:rPr>
                        <a:t>Švietimo departamentas</a:t>
                      </a:r>
                      <a:endParaRPr lang="en-GB" sz="900" dirty="0">
                        <a:solidFill>
                          <a:srgbClr val="000000"/>
                        </a:solidFill>
                        <a:effectLst/>
                        <a:latin typeface="+mn-lt"/>
                        <a:ea typeface="Calibri" panose="020F0502020204030204" pitchFamily="34" charset="0"/>
                        <a:cs typeface="Myanmar Text" panose="020B0502040204020203" pitchFamily="34" charset="0"/>
                      </a:endParaRPr>
                    </a:p>
                    <a:p>
                      <a:pPr marL="171450" lvl="0" indent="-171450" algn="l">
                        <a:lnSpc>
                          <a:spcPct val="100000"/>
                        </a:lnSpc>
                        <a:spcAft>
                          <a:spcPts val="0"/>
                        </a:spcAft>
                        <a:buClr>
                          <a:schemeClr val="accent6"/>
                        </a:buClr>
                        <a:buSzPts val="1100"/>
                        <a:buFont typeface="Arial" panose="020B0604020202020204" pitchFamily="34" charset="0"/>
                        <a:buChar char="•"/>
                      </a:pPr>
                      <a:r>
                        <a:rPr lang="lt-LT" sz="900" dirty="0">
                          <a:solidFill>
                            <a:srgbClr val="000000"/>
                          </a:solidFill>
                          <a:effectLst/>
                          <a:latin typeface="+mn-lt"/>
                          <a:ea typeface="Calibri" panose="020F0502020204030204" pitchFamily="34" charset="0"/>
                          <a:cs typeface="Times New Roman" panose="02020603050405020304" pitchFamily="18" charset="0"/>
                        </a:rPr>
                        <a:t>PKT teikėjai</a:t>
                      </a:r>
                      <a:endParaRPr lang="en-GB" sz="900" dirty="0">
                        <a:solidFill>
                          <a:srgbClr val="000000"/>
                        </a:solidFill>
                        <a:effectLst/>
                        <a:latin typeface="+mn-lt"/>
                        <a:ea typeface="Calibri" panose="020F0502020204030204" pitchFamily="34" charset="0"/>
                        <a:cs typeface="Myanmar Text" panose="020B0502040204020203" pitchFamily="34" charset="0"/>
                      </a:endParaRPr>
                    </a:p>
                  </a:txBody>
                  <a:tcPr marL="68580" marR="68580" marT="0" marB="0" anchor="ctr">
                    <a:solidFill>
                      <a:schemeClr val="bg1">
                        <a:lumMod val="95000"/>
                      </a:schemeClr>
                    </a:solidFill>
                  </a:tcPr>
                </a:tc>
                <a:extLst>
                  <a:ext uri="{0D108BD9-81ED-4DB2-BD59-A6C34878D82A}">
                    <a16:rowId xmlns:a16="http://schemas.microsoft.com/office/drawing/2014/main" val="2261650762"/>
                  </a:ext>
                </a:extLst>
              </a:tr>
            </a:tbl>
          </a:graphicData>
        </a:graphic>
      </p:graphicFrame>
    </p:spTree>
    <p:extLst>
      <p:ext uri="{BB962C8B-B14F-4D97-AF65-F5344CB8AC3E}">
        <p14:creationId xmlns:p14="http://schemas.microsoft.com/office/powerpoint/2010/main" val="19596524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E751B667-B24D-454A-9B1B-C2A34F00FAB3}"/>
              </a:ext>
            </a:extLst>
          </p:cNvPr>
          <p:cNvGraphicFramePr>
            <a:graphicFrameLocks noGrp="1"/>
          </p:cNvGraphicFramePr>
          <p:nvPr>
            <p:extLst>
              <p:ext uri="{D42A27DB-BD31-4B8C-83A1-F6EECF244321}">
                <p14:modId xmlns:p14="http://schemas.microsoft.com/office/powerpoint/2010/main" val="2226753986"/>
              </p:ext>
            </p:extLst>
          </p:nvPr>
        </p:nvGraphicFramePr>
        <p:xfrm>
          <a:off x="390707" y="1623064"/>
          <a:ext cx="8358006" cy="2016760"/>
        </p:xfrm>
        <a:graphic>
          <a:graphicData uri="http://schemas.openxmlformats.org/drawingml/2006/table">
            <a:tbl>
              <a:tblPr firstRow="1" bandRow="1">
                <a:tableStyleId>{5C22544A-7EE6-4342-B048-85BDC9FD1C3A}</a:tableStyleId>
              </a:tblPr>
              <a:tblGrid>
                <a:gridCol w="1393001">
                  <a:extLst>
                    <a:ext uri="{9D8B030D-6E8A-4147-A177-3AD203B41FA5}">
                      <a16:colId xmlns:a16="http://schemas.microsoft.com/office/drawing/2014/main" val="3141503832"/>
                    </a:ext>
                  </a:extLst>
                </a:gridCol>
                <a:gridCol w="1393001">
                  <a:extLst>
                    <a:ext uri="{9D8B030D-6E8A-4147-A177-3AD203B41FA5}">
                      <a16:colId xmlns:a16="http://schemas.microsoft.com/office/drawing/2014/main" val="89022005"/>
                    </a:ext>
                  </a:extLst>
                </a:gridCol>
                <a:gridCol w="1393001">
                  <a:extLst>
                    <a:ext uri="{9D8B030D-6E8A-4147-A177-3AD203B41FA5}">
                      <a16:colId xmlns:a16="http://schemas.microsoft.com/office/drawing/2014/main" val="1013197151"/>
                    </a:ext>
                  </a:extLst>
                </a:gridCol>
                <a:gridCol w="1393001">
                  <a:extLst>
                    <a:ext uri="{9D8B030D-6E8A-4147-A177-3AD203B41FA5}">
                      <a16:colId xmlns:a16="http://schemas.microsoft.com/office/drawing/2014/main" val="3485516014"/>
                    </a:ext>
                  </a:extLst>
                </a:gridCol>
                <a:gridCol w="1393001">
                  <a:extLst>
                    <a:ext uri="{9D8B030D-6E8A-4147-A177-3AD203B41FA5}">
                      <a16:colId xmlns:a16="http://schemas.microsoft.com/office/drawing/2014/main" val="3693893489"/>
                    </a:ext>
                  </a:extLst>
                </a:gridCol>
                <a:gridCol w="1393001">
                  <a:extLst>
                    <a:ext uri="{9D8B030D-6E8A-4147-A177-3AD203B41FA5}">
                      <a16:colId xmlns:a16="http://schemas.microsoft.com/office/drawing/2014/main" val="2466899260"/>
                    </a:ext>
                  </a:extLst>
                </a:gridCol>
              </a:tblGrid>
              <a:tr h="146955">
                <a:tc>
                  <a:txBody>
                    <a:bodyPr/>
                    <a:lstStyle/>
                    <a:p>
                      <a:pPr algn="ctr"/>
                      <a:r>
                        <a:rPr lang="lt-LT" sz="1050">
                          <a:solidFill>
                            <a:schemeClr val="bg1"/>
                          </a:solidFill>
                        </a:rPr>
                        <a:t>Funkcija / Šalis</a:t>
                      </a:r>
                      <a:endParaRPr lang="en-GB" sz="1050">
                        <a:solidFill>
                          <a:schemeClr val="bg1"/>
                        </a:solidFill>
                      </a:endParaRPr>
                    </a:p>
                  </a:txBody>
                  <a:tcPr anchor="ctr">
                    <a:solidFill>
                      <a:schemeClr val="bg1">
                        <a:lumMod val="50000"/>
                      </a:schemeClr>
                    </a:solidFill>
                  </a:tcPr>
                </a:tc>
                <a:tc>
                  <a:txBody>
                    <a:bodyPr/>
                    <a:lstStyle/>
                    <a:p>
                      <a:pPr algn="ctr"/>
                      <a:r>
                        <a:rPr lang="lt-LT" sz="1050">
                          <a:solidFill>
                            <a:schemeClr val="tx1"/>
                          </a:solidFill>
                        </a:rPr>
                        <a:t>Lietuva</a:t>
                      </a:r>
                      <a:endParaRPr lang="en-GB" sz="1050">
                        <a:solidFill>
                          <a:schemeClr val="tx1"/>
                        </a:solidFill>
                      </a:endParaRPr>
                    </a:p>
                  </a:txBody>
                  <a:tcPr anchor="ctr">
                    <a:solidFill>
                      <a:schemeClr val="accent6"/>
                    </a:solidFill>
                  </a:tcPr>
                </a:tc>
                <a:tc>
                  <a:txBody>
                    <a:bodyPr/>
                    <a:lstStyle/>
                    <a:p>
                      <a:pPr algn="ctr"/>
                      <a:r>
                        <a:rPr lang="lt-LT" sz="1050">
                          <a:solidFill>
                            <a:schemeClr val="bg1"/>
                          </a:solidFill>
                        </a:rPr>
                        <a:t>Estija</a:t>
                      </a:r>
                      <a:endParaRPr lang="en-GB" sz="1050">
                        <a:solidFill>
                          <a:schemeClr val="bg1"/>
                        </a:solidFill>
                      </a:endParaRPr>
                    </a:p>
                  </a:txBody>
                  <a:tcPr anchor="ctr">
                    <a:solidFill>
                      <a:schemeClr val="bg1">
                        <a:lumMod val="50000"/>
                      </a:schemeClr>
                    </a:solidFill>
                  </a:tcPr>
                </a:tc>
                <a:tc>
                  <a:txBody>
                    <a:bodyPr/>
                    <a:lstStyle/>
                    <a:p>
                      <a:pPr algn="ctr"/>
                      <a:r>
                        <a:rPr lang="lt-LT" sz="1050">
                          <a:solidFill>
                            <a:schemeClr val="bg1"/>
                          </a:solidFill>
                        </a:rPr>
                        <a:t>Suomija</a:t>
                      </a:r>
                      <a:endParaRPr lang="en-GB" sz="1050">
                        <a:solidFill>
                          <a:schemeClr val="bg1"/>
                        </a:solidFill>
                      </a:endParaRPr>
                    </a:p>
                  </a:txBody>
                  <a:tcPr anchor="ctr">
                    <a:solidFill>
                      <a:schemeClr val="bg1">
                        <a:lumMod val="50000"/>
                      </a:schemeClr>
                    </a:solidFill>
                  </a:tcPr>
                </a:tc>
                <a:tc>
                  <a:txBody>
                    <a:bodyPr/>
                    <a:lstStyle/>
                    <a:p>
                      <a:pPr algn="ctr"/>
                      <a:r>
                        <a:rPr lang="lt-LT" sz="1050">
                          <a:solidFill>
                            <a:schemeClr val="bg1"/>
                          </a:solidFill>
                        </a:rPr>
                        <a:t>Nyderlandai</a:t>
                      </a:r>
                      <a:endParaRPr lang="en-GB" sz="1050">
                        <a:solidFill>
                          <a:schemeClr val="bg1"/>
                        </a:solidFill>
                      </a:endParaRPr>
                    </a:p>
                  </a:txBody>
                  <a:tcPr anchor="ctr">
                    <a:solidFill>
                      <a:schemeClr val="bg1">
                        <a:lumMod val="50000"/>
                      </a:schemeClr>
                    </a:solidFill>
                  </a:tcPr>
                </a:tc>
                <a:tc>
                  <a:txBody>
                    <a:bodyPr/>
                    <a:lstStyle/>
                    <a:p>
                      <a:pPr algn="ctr"/>
                      <a:r>
                        <a:rPr lang="lt-LT" sz="1050">
                          <a:solidFill>
                            <a:schemeClr val="bg1"/>
                          </a:solidFill>
                        </a:rPr>
                        <a:t>Airija</a:t>
                      </a:r>
                      <a:endParaRPr lang="en-GB" sz="1050">
                        <a:solidFill>
                          <a:schemeClr val="bg1"/>
                        </a:solidFill>
                      </a:endParaRPr>
                    </a:p>
                  </a:txBody>
                  <a:tcPr anchor="ctr">
                    <a:solidFill>
                      <a:schemeClr val="bg1">
                        <a:lumMod val="50000"/>
                      </a:schemeClr>
                    </a:solidFill>
                  </a:tcPr>
                </a:tc>
                <a:extLst>
                  <a:ext uri="{0D108BD9-81ED-4DB2-BD59-A6C34878D82A}">
                    <a16:rowId xmlns:a16="http://schemas.microsoft.com/office/drawing/2014/main" val="1815457378"/>
                  </a:ext>
                </a:extLst>
              </a:tr>
              <a:tr h="370840">
                <a:tc>
                  <a:txBody>
                    <a:bodyPr/>
                    <a:lstStyle/>
                    <a:p>
                      <a:r>
                        <a:rPr lang="lt-LT" sz="1050" b="1"/>
                        <a:t>Poreikių vertinimas</a:t>
                      </a:r>
                      <a:endParaRPr lang="en-GB" sz="1050" b="1"/>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t-LT" sz="1050" kern="1200">
                          <a:solidFill>
                            <a:schemeClr val="dk1"/>
                          </a:solidFill>
                          <a:latin typeface="+mn-lt"/>
                          <a:ea typeface="+mn-ea"/>
                          <a:cs typeface="+mn-cs"/>
                        </a:rPr>
                        <a:t>Atlieka PKT poreikių vertinimo tyrimus, rengia apklausas</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t-BR" sz="1050" kern="1200">
                          <a:solidFill>
                            <a:schemeClr val="dk1"/>
                          </a:solidFill>
                          <a:latin typeface="+mn-lt"/>
                          <a:ea typeface="+mn-ea"/>
                          <a:cs typeface="+mn-cs"/>
                        </a:rPr>
                        <a:t>Bendradarbiauja nustatant PKT poreikius</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t-LT" sz="1050" kern="1200">
                          <a:solidFill>
                            <a:schemeClr val="dk1"/>
                          </a:solidFill>
                          <a:latin typeface="+mn-lt"/>
                          <a:ea typeface="+mn-ea"/>
                          <a:cs typeface="+mn-cs"/>
                        </a:rPr>
                        <a:t>Atlieka PKT poreikių vertinimo tyrimus</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t-LT" sz="1050" kern="1200">
                          <a:solidFill>
                            <a:schemeClr val="dk1"/>
                          </a:solidFill>
                          <a:latin typeface="+mn-lt"/>
                          <a:ea typeface="+mn-ea"/>
                          <a:cs typeface="+mn-cs"/>
                        </a:rPr>
                        <a:t>Atlieka PKT poreikių vertinimo tyrimus</a:t>
                      </a:r>
                    </a:p>
                  </a:txBody>
                  <a:tcPr anchor="ctr">
                    <a:solidFill>
                      <a:schemeClr val="bg1">
                        <a:lumMod val="95000"/>
                      </a:schemeClr>
                    </a:solidFill>
                  </a:tcPr>
                </a:tc>
                <a:tc>
                  <a:txBody>
                    <a:bodyPr/>
                    <a:lstStyle/>
                    <a:p>
                      <a:pPr algn="ctr"/>
                      <a:r>
                        <a:rPr lang="lt-LT" sz="1050"/>
                        <a:t>-</a:t>
                      </a:r>
                      <a:endParaRPr lang="en-GB" sz="1050"/>
                    </a:p>
                  </a:txBody>
                  <a:tcPr anchor="ctr">
                    <a:solidFill>
                      <a:schemeClr val="bg1">
                        <a:lumMod val="95000"/>
                      </a:schemeClr>
                    </a:solidFill>
                  </a:tcPr>
                </a:tc>
                <a:extLst>
                  <a:ext uri="{0D108BD9-81ED-4DB2-BD59-A6C34878D82A}">
                    <a16:rowId xmlns:a16="http://schemas.microsoft.com/office/drawing/2014/main" val="260575160"/>
                  </a:ext>
                </a:extLst>
              </a:tr>
              <a:tr h="370840">
                <a:tc>
                  <a:txBody>
                    <a:bodyPr/>
                    <a:lstStyle/>
                    <a:p>
                      <a:r>
                        <a:rPr lang="lt-LT" sz="1050" b="1"/>
                        <a:t>Programų rengimas ir vykdymas</a:t>
                      </a:r>
                      <a:endParaRPr lang="en-GB" sz="1050" b="1"/>
                    </a:p>
                  </a:txBody>
                  <a:tcPr anchor="ctr"/>
                </a:tc>
                <a:tc gridSpan="5">
                  <a:txBody>
                    <a:bodyPr/>
                    <a:lstStyle/>
                    <a:p>
                      <a:pPr algn="ctr"/>
                      <a:r>
                        <a:rPr lang="lt-LT" sz="1050" noProof="0"/>
                        <a:t>Rengia ir vykdo įvairias PKT veiklas: programas, mokymus, seminarus, internetinius seminarus, renginius, kūrybines dirbtuves, mokslinius projektus ir kt.</a:t>
                      </a:r>
                    </a:p>
                  </a:txBody>
                  <a:tcPr anchor="ctr"/>
                </a:tc>
                <a:tc hMerge="1">
                  <a:txBody>
                    <a:bodyPr/>
                    <a:lstStyle/>
                    <a:p>
                      <a:endParaRPr lang="en-GB" sz="1050"/>
                    </a:p>
                  </a:txBody>
                  <a:tcPr/>
                </a:tc>
                <a:tc hMerge="1">
                  <a:txBody>
                    <a:bodyPr/>
                    <a:lstStyle/>
                    <a:p>
                      <a:endParaRPr lang="en-GB" sz="1050"/>
                    </a:p>
                  </a:txBody>
                  <a:tcPr/>
                </a:tc>
                <a:tc hMerge="1">
                  <a:txBody>
                    <a:bodyPr/>
                    <a:lstStyle/>
                    <a:p>
                      <a:endParaRPr lang="en-GB" sz="1050"/>
                    </a:p>
                  </a:txBody>
                  <a:tcPr/>
                </a:tc>
                <a:tc hMerge="1">
                  <a:txBody>
                    <a:bodyPr/>
                    <a:lstStyle/>
                    <a:p>
                      <a:endParaRPr lang="en-GB" sz="1050"/>
                    </a:p>
                  </a:txBody>
                  <a:tcPr/>
                </a:tc>
                <a:extLst>
                  <a:ext uri="{0D108BD9-81ED-4DB2-BD59-A6C34878D82A}">
                    <a16:rowId xmlns:a16="http://schemas.microsoft.com/office/drawing/2014/main" val="1935794126"/>
                  </a:ext>
                </a:extLst>
              </a:tr>
              <a:tr h="370840">
                <a:tc>
                  <a:txBody>
                    <a:bodyPr/>
                    <a:lstStyle/>
                    <a:p>
                      <a:r>
                        <a:rPr lang="lt-LT" sz="1050" b="1" dirty="0"/>
                        <a:t>Stebėsena</a:t>
                      </a:r>
                      <a:endParaRPr lang="en-GB" sz="1050" b="1" dirty="0"/>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t-LT" sz="1050" kern="1200">
                          <a:solidFill>
                            <a:schemeClr val="dk1"/>
                          </a:solidFill>
                          <a:latin typeface="+mn-lt"/>
                          <a:ea typeface="+mn-ea"/>
                          <a:cs typeface="+mn-cs"/>
                        </a:rPr>
                        <a:t>Pagal poreikį vykdo PKT stebėseną</a:t>
                      </a:r>
                    </a:p>
                  </a:txBody>
                  <a:tcPr anchor="ctr">
                    <a:solidFill>
                      <a:schemeClr val="bg1">
                        <a:lumMod val="95000"/>
                      </a:schemeClr>
                    </a:solidFill>
                  </a:tcPr>
                </a:tc>
                <a:tc>
                  <a:txBody>
                    <a:bodyPr/>
                    <a:lstStyle/>
                    <a:p>
                      <a:pPr algn="ctr"/>
                      <a:r>
                        <a:rPr lang="lt-LT" sz="1050"/>
                        <a:t>-</a:t>
                      </a:r>
                      <a:endParaRPr lang="en-GB" sz="1050"/>
                    </a:p>
                  </a:txBody>
                  <a:tcPr anchor="ctr">
                    <a:solidFill>
                      <a:schemeClr val="bg1">
                        <a:lumMod val="95000"/>
                      </a:schemeClr>
                    </a:solidFill>
                  </a:tcPr>
                </a:tc>
                <a:tc>
                  <a:txBody>
                    <a:bodyPr/>
                    <a:lstStyle/>
                    <a:p>
                      <a:pPr algn="ctr"/>
                      <a:r>
                        <a:rPr lang="lt-LT" sz="1050"/>
                        <a:t>-</a:t>
                      </a:r>
                      <a:endParaRPr lang="en-GB" sz="1050"/>
                    </a:p>
                  </a:txBody>
                  <a:tcPr anchor="ctr">
                    <a:solidFill>
                      <a:schemeClr val="bg1">
                        <a:lumMod val="95000"/>
                      </a:schemeClr>
                    </a:solidFill>
                  </a:tcPr>
                </a:tc>
                <a:tc>
                  <a:txBody>
                    <a:bodyPr/>
                    <a:lstStyle/>
                    <a:p>
                      <a:pPr algn="ctr"/>
                      <a:r>
                        <a:rPr lang="lt-LT" sz="1050"/>
                        <a:t>-</a:t>
                      </a:r>
                      <a:endParaRPr lang="en-GB" sz="1050"/>
                    </a:p>
                  </a:txBody>
                  <a:tcPr anchor="ctr">
                    <a:solidFill>
                      <a:schemeClr val="bg1">
                        <a:lumMod val="95000"/>
                      </a:schemeClr>
                    </a:solidFill>
                  </a:tcPr>
                </a:tc>
                <a:tc>
                  <a:txBody>
                    <a:bodyPr/>
                    <a:lstStyle/>
                    <a:p>
                      <a:pPr algn="ctr"/>
                      <a:r>
                        <a:rPr lang="lt-LT" sz="1050"/>
                        <a:t>-</a:t>
                      </a:r>
                      <a:endParaRPr lang="en-GB" sz="1050"/>
                    </a:p>
                  </a:txBody>
                  <a:tcPr anchor="ctr">
                    <a:solidFill>
                      <a:schemeClr val="bg1">
                        <a:lumMod val="95000"/>
                      </a:schemeClr>
                    </a:solidFill>
                  </a:tcPr>
                </a:tc>
                <a:extLst>
                  <a:ext uri="{0D108BD9-81ED-4DB2-BD59-A6C34878D82A}">
                    <a16:rowId xmlns:a16="http://schemas.microsoft.com/office/drawing/2014/main" val="1581238637"/>
                  </a:ext>
                </a:extLst>
              </a:tr>
              <a:tr h="370840">
                <a:tc>
                  <a:txBody>
                    <a:bodyPr/>
                    <a:lstStyle/>
                    <a:p>
                      <a:r>
                        <a:rPr lang="lt-LT" sz="1050" b="1"/>
                        <a:t>Kokybės užtikrinimas</a:t>
                      </a:r>
                      <a:endParaRPr lang="en-GB" sz="1050" b="1"/>
                    </a:p>
                  </a:txBody>
                  <a:tcPr anchor="ct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t-LT" sz="1050" kern="1200" dirty="0">
                          <a:solidFill>
                            <a:schemeClr val="dk1"/>
                          </a:solidFill>
                          <a:latin typeface="+mn-lt"/>
                          <a:ea typeface="+mn-ea"/>
                          <a:cs typeface="+mn-cs"/>
                        </a:rPr>
                        <a:t>Užtikrina savo teikiamų PKT paslaugų kokybę</a:t>
                      </a:r>
                    </a:p>
                  </a:txBody>
                  <a:tcPr anchor="ctr"/>
                </a:tc>
                <a:tc hMerge="1">
                  <a:txBody>
                    <a:bodyPr/>
                    <a:lstStyle/>
                    <a:p>
                      <a:endParaRPr lang="en-GB" sz="1050"/>
                    </a:p>
                  </a:txBody>
                  <a:tcPr/>
                </a:tc>
                <a:tc hMerge="1">
                  <a:txBody>
                    <a:bodyPr/>
                    <a:lstStyle/>
                    <a:p>
                      <a:endParaRPr lang="en-GB" sz="1050"/>
                    </a:p>
                  </a:txBody>
                  <a:tcPr/>
                </a:tc>
                <a:tc hMerge="1">
                  <a:txBody>
                    <a:bodyPr/>
                    <a:lstStyle/>
                    <a:p>
                      <a:endParaRPr lang="en-GB" sz="1050"/>
                    </a:p>
                  </a:txBody>
                  <a:tcPr/>
                </a:tc>
                <a:tc hMerge="1">
                  <a:txBody>
                    <a:bodyPr/>
                    <a:lstStyle/>
                    <a:p>
                      <a:endParaRPr lang="en-GB" sz="1050"/>
                    </a:p>
                  </a:txBody>
                  <a:tcPr/>
                </a:tc>
                <a:extLst>
                  <a:ext uri="{0D108BD9-81ED-4DB2-BD59-A6C34878D82A}">
                    <a16:rowId xmlns:a16="http://schemas.microsoft.com/office/drawing/2014/main" val="276085257"/>
                  </a:ext>
                </a:extLst>
              </a:tr>
            </a:tbl>
          </a:graphicData>
        </a:graphic>
      </p:graphicFrame>
      <p:sp>
        <p:nvSpPr>
          <p:cNvPr id="6" name="Title 1">
            <a:extLst>
              <a:ext uri="{FF2B5EF4-FFF2-40B4-BE49-F238E27FC236}">
                <a16:creationId xmlns:a16="http://schemas.microsoft.com/office/drawing/2014/main" id="{E897F333-493C-493B-847D-F598464A1F62}"/>
              </a:ext>
            </a:extLst>
          </p:cNvPr>
          <p:cNvSpPr txBox="1">
            <a:spLocks/>
          </p:cNvSpPr>
          <p:nvPr/>
        </p:nvSpPr>
        <p:spPr>
          <a:xfrm>
            <a:off x="395536" y="267250"/>
            <a:ext cx="8353177" cy="497454"/>
          </a:xfrm>
          <a:prstGeom prst="rect">
            <a:avLst/>
          </a:prstGeom>
        </p:spPr>
        <p:txBody>
          <a:bodyPr lIns="0">
            <a:noAutofit/>
          </a:bodyPr>
          <a:lstStyle>
            <a:lvl1pPr algn="l" defTabSz="914400" rtl="0" eaLnBrk="1" latinLnBrk="0" hangingPunct="1">
              <a:spcBef>
                <a:spcPct val="0"/>
              </a:spcBef>
              <a:buNone/>
              <a:defRPr sz="1400" b="0" kern="1200">
                <a:solidFill>
                  <a:schemeClr val="tx1"/>
                </a:solidFill>
                <a:latin typeface="Cambria" panose="02040503050406030204" pitchFamily="18" charset="0"/>
                <a:ea typeface="+mj-ea"/>
                <a:cs typeface="+mj-cs"/>
              </a:defRPr>
            </a:lvl1pPr>
          </a:lstStyle>
          <a:p>
            <a:r>
              <a:rPr lang="lt-LT" dirty="0"/>
              <a:t>Lietuvos ir analizuotų užsienio šalių aukštųjų mokyklų / pedagogų rengimo centrų vaidmuo PKT sistemoje</a:t>
            </a:r>
            <a:br>
              <a:rPr lang="lt-LT" dirty="0"/>
            </a:br>
            <a:endParaRPr lang="lt-LT" dirty="0"/>
          </a:p>
        </p:txBody>
      </p:sp>
    </p:spTree>
    <p:extLst>
      <p:ext uri="{BB962C8B-B14F-4D97-AF65-F5344CB8AC3E}">
        <p14:creationId xmlns:p14="http://schemas.microsoft.com/office/powerpoint/2010/main" val="12150383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5E6DDA-B7B5-4E73-A4CC-5BBC85B8DCA2}"/>
              </a:ext>
            </a:extLst>
          </p:cNvPr>
          <p:cNvSpPr>
            <a:spLocks noGrp="1"/>
          </p:cNvSpPr>
          <p:nvPr>
            <p:ph type="title"/>
          </p:nvPr>
        </p:nvSpPr>
        <p:spPr/>
        <p:txBody>
          <a:bodyPr/>
          <a:lstStyle/>
          <a:p>
            <a:r>
              <a:rPr lang="lt-LT" dirty="0"/>
              <a:t>Lietuvos aukštųjų mokyklų / pedagogų rengimo centrų ir kitų PKT teikėjų funkcijų palyginimas</a:t>
            </a:r>
            <a:endParaRPr lang="en-GB" dirty="0"/>
          </a:p>
        </p:txBody>
      </p:sp>
      <p:graphicFrame>
        <p:nvGraphicFramePr>
          <p:cNvPr id="4" name="Table 4">
            <a:extLst>
              <a:ext uri="{FF2B5EF4-FFF2-40B4-BE49-F238E27FC236}">
                <a16:creationId xmlns:a16="http://schemas.microsoft.com/office/drawing/2014/main" id="{9BF523C1-ED79-46BC-B8BF-4BFDEF10B5EE}"/>
              </a:ext>
            </a:extLst>
          </p:cNvPr>
          <p:cNvGraphicFramePr>
            <a:graphicFrameLocks noGrp="1"/>
          </p:cNvGraphicFramePr>
          <p:nvPr>
            <p:extLst>
              <p:ext uri="{D42A27DB-BD31-4B8C-83A1-F6EECF244321}">
                <p14:modId xmlns:p14="http://schemas.microsoft.com/office/powerpoint/2010/main" val="3216893564"/>
              </p:ext>
            </p:extLst>
          </p:nvPr>
        </p:nvGraphicFramePr>
        <p:xfrm>
          <a:off x="395288" y="2366888"/>
          <a:ext cx="8353426" cy="1854200"/>
        </p:xfrm>
        <a:graphic>
          <a:graphicData uri="http://schemas.openxmlformats.org/drawingml/2006/table">
            <a:tbl>
              <a:tblPr firstRow="1" bandRow="1">
                <a:tableStyleId>{5C22544A-7EE6-4342-B048-85BDC9FD1C3A}</a:tableStyleId>
              </a:tblPr>
              <a:tblGrid>
                <a:gridCol w="2088480">
                  <a:extLst>
                    <a:ext uri="{9D8B030D-6E8A-4147-A177-3AD203B41FA5}">
                      <a16:colId xmlns:a16="http://schemas.microsoft.com/office/drawing/2014/main" val="3185778872"/>
                    </a:ext>
                  </a:extLst>
                </a:gridCol>
                <a:gridCol w="3132473">
                  <a:extLst>
                    <a:ext uri="{9D8B030D-6E8A-4147-A177-3AD203B41FA5}">
                      <a16:colId xmlns:a16="http://schemas.microsoft.com/office/drawing/2014/main" val="1654182826"/>
                    </a:ext>
                  </a:extLst>
                </a:gridCol>
                <a:gridCol w="3132473">
                  <a:extLst>
                    <a:ext uri="{9D8B030D-6E8A-4147-A177-3AD203B41FA5}">
                      <a16:colId xmlns:a16="http://schemas.microsoft.com/office/drawing/2014/main" val="2867320264"/>
                    </a:ext>
                  </a:extLst>
                </a:gridCol>
              </a:tblGrid>
              <a:tr h="370840">
                <a:tc>
                  <a:txBody>
                    <a:bodyPr/>
                    <a:lstStyle/>
                    <a:p>
                      <a:pPr algn="ctr"/>
                      <a:r>
                        <a:rPr lang="lt-LT" sz="1050">
                          <a:solidFill>
                            <a:schemeClr val="bg1"/>
                          </a:solidFill>
                        </a:rPr>
                        <a:t>Funkcija</a:t>
                      </a:r>
                      <a:endParaRPr lang="en-GB" sz="1050">
                        <a:solidFill>
                          <a:schemeClr val="bg1"/>
                        </a:solidFill>
                      </a:endParaRPr>
                    </a:p>
                  </a:txBody>
                  <a:tcPr anchor="ctr">
                    <a:solidFill>
                      <a:schemeClr val="bg1">
                        <a:lumMod val="50000"/>
                      </a:schemeClr>
                    </a:solidFill>
                  </a:tcPr>
                </a:tc>
                <a:tc>
                  <a:txBody>
                    <a:bodyPr/>
                    <a:lstStyle/>
                    <a:p>
                      <a:pPr algn="ctr"/>
                      <a:r>
                        <a:rPr lang="lt-LT" sz="1050">
                          <a:solidFill>
                            <a:schemeClr val="tx1"/>
                          </a:solidFill>
                        </a:rPr>
                        <a:t>Aukštosios mokyklos / pedagogų rengimo centrai</a:t>
                      </a:r>
                      <a:endParaRPr lang="en-GB" sz="1050">
                        <a:solidFill>
                          <a:schemeClr val="tx1"/>
                        </a:solidFill>
                      </a:endParaRPr>
                    </a:p>
                  </a:txBody>
                  <a:tcPr anchor="ctr">
                    <a:solidFill>
                      <a:schemeClr val="accent6"/>
                    </a:solidFill>
                  </a:tcPr>
                </a:tc>
                <a:tc>
                  <a:txBody>
                    <a:bodyPr/>
                    <a:lstStyle/>
                    <a:p>
                      <a:pPr algn="ctr"/>
                      <a:r>
                        <a:rPr lang="lt-LT" sz="1050">
                          <a:solidFill>
                            <a:schemeClr val="bg1"/>
                          </a:solidFill>
                        </a:rPr>
                        <a:t>Kiti PKT Paslaugų teikėjai </a:t>
                      </a:r>
                      <a:endParaRPr lang="en-GB" sz="1050">
                        <a:solidFill>
                          <a:schemeClr val="bg1"/>
                        </a:solidFill>
                      </a:endParaRPr>
                    </a:p>
                  </a:txBody>
                  <a:tcPr anchor="ctr">
                    <a:solidFill>
                      <a:schemeClr val="bg1">
                        <a:lumMod val="50000"/>
                      </a:schemeClr>
                    </a:solidFill>
                  </a:tcPr>
                </a:tc>
                <a:extLst>
                  <a:ext uri="{0D108BD9-81ED-4DB2-BD59-A6C34878D82A}">
                    <a16:rowId xmlns:a16="http://schemas.microsoft.com/office/drawing/2014/main" val="1829722674"/>
                  </a:ext>
                </a:extLst>
              </a:tr>
              <a:tr h="370840">
                <a:tc>
                  <a:txBody>
                    <a:bodyPr/>
                    <a:lstStyle/>
                    <a:p>
                      <a:r>
                        <a:rPr lang="lt-LT" sz="1050" b="1"/>
                        <a:t>Poreikių vertinimas</a:t>
                      </a:r>
                      <a:endParaRPr lang="en-GB" sz="1050" b="1"/>
                    </a:p>
                  </a:txBody>
                  <a:tcPr anchor="ctr">
                    <a:solidFill>
                      <a:schemeClr val="bg1">
                        <a:lumMod val="95000"/>
                      </a:schemeClr>
                    </a:solidFill>
                  </a:tcPr>
                </a:tc>
                <a:tc>
                  <a:txBody>
                    <a:bodyPr/>
                    <a:lstStyle/>
                    <a:p>
                      <a:pPr algn="ctr"/>
                      <a:r>
                        <a:rPr lang="lt-LT" sz="1050"/>
                        <a:t>Vykdo </a:t>
                      </a:r>
                      <a:endParaRPr lang="en-GB" sz="1050"/>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t-LT" sz="1050"/>
                        <a:t>Vykdo </a:t>
                      </a:r>
                      <a:endParaRPr lang="en-GB" sz="1050"/>
                    </a:p>
                  </a:txBody>
                  <a:tcPr anchor="ctr">
                    <a:solidFill>
                      <a:schemeClr val="bg1">
                        <a:lumMod val="95000"/>
                      </a:schemeClr>
                    </a:solidFill>
                  </a:tcPr>
                </a:tc>
                <a:extLst>
                  <a:ext uri="{0D108BD9-81ED-4DB2-BD59-A6C34878D82A}">
                    <a16:rowId xmlns:a16="http://schemas.microsoft.com/office/drawing/2014/main" val="1707677515"/>
                  </a:ext>
                </a:extLst>
              </a:tr>
              <a:tr h="370840">
                <a:tc>
                  <a:txBody>
                    <a:bodyPr/>
                    <a:lstStyle/>
                    <a:p>
                      <a:r>
                        <a:rPr lang="lt-LT" sz="1050" b="1"/>
                        <a:t>Programų rengimas ir vykdymas</a:t>
                      </a:r>
                      <a:endParaRPr lang="en-GB" sz="1050" b="1"/>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t-LT" sz="1050"/>
                        <a:t>Vykdo </a:t>
                      </a:r>
                      <a:endParaRPr lang="en-GB" sz="105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t-LT" sz="1050"/>
                        <a:t>Vykdo </a:t>
                      </a:r>
                      <a:endParaRPr lang="en-GB" sz="1050"/>
                    </a:p>
                  </a:txBody>
                  <a:tcPr anchor="ctr"/>
                </a:tc>
                <a:extLst>
                  <a:ext uri="{0D108BD9-81ED-4DB2-BD59-A6C34878D82A}">
                    <a16:rowId xmlns:a16="http://schemas.microsoft.com/office/drawing/2014/main" val="2564625965"/>
                  </a:ext>
                </a:extLst>
              </a:tr>
              <a:tr h="370840">
                <a:tc>
                  <a:txBody>
                    <a:bodyPr/>
                    <a:lstStyle/>
                    <a:p>
                      <a:r>
                        <a:rPr lang="lt-LT" sz="1050" b="1"/>
                        <a:t>Stebėsena</a:t>
                      </a:r>
                      <a:endParaRPr lang="en-GB" sz="1050" b="1"/>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t-LT" sz="1050"/>
                        <a:t>Vykdo </a:t>
                      </a:r>
                      <a:endParaRPr lang="en-GB" sz="1050"/>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t-LT" sz="1050"/>
                        <a:t>Vykdo </a:t>
                      </a:r>
                      <a:endParaRPr lang="en-GB" sz="1050"/>
                    </a:p>
                  </a:txBody>
                  <a:tcPr anchor="ctr">
                    <a:solidFill>
                      <a:schemeClr val="bg1">
                        <a:lumMod val="95000"/>
                      </a:schemeClr>
                    </a:solidFill>
                  </a:tcPr>
                </a:tc>
                <a:extLst>
                  <a:ext uri="{0D108BD9-81ED-4DB2-BD59-A6C34878D82A}">
                    <a16:rowId xmlns:a16="http://schemas.microsoft.com/office/drawing/2014/main" val="4189469201"/>
                  </a:ext>
                </a:extLst>
              </a:tr>
              <a:tr h="370840">
                <a:tc>
                  <a:txBody>
                    <a:bodyPr/>
                    <a:lstStyle/>
                    <a:p>
                      <a:r>
                        <a:rPr lang="lt-LT" sz="1050" b="1"/>
                        <a:t>Kokybės užtikrinimas</a:t>
                      </a:r>
                      <a:endParaRPr lang="en-GB" sz="1050" b="1"/>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t-LT" sz="1050"/>
                        <a:t>Vykdo </a:t>
                      </a:r>
                      <a:endParaRPr lang="en-GB" sz="105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t-LT" sz="1050"/>
                        <a:t>Vykdo </a:t>
                      </a:r>
                      <a:endParaRPr lang="en-GB" sz="1050"/>
                    </a:p>
                  </a:txBody>
                  <a:tcPr anchor="ctr"/>
                </a:tc>
                <a:extLst>
                  <a:ext uri="{0D108BD9-81ED-4DB2-BD59-A6C34878D82A}">
                    <a16:rowId xmlns:a16="http://schemas.microsoft.com/office/drawing/2014/main" val="3007273676"/>
                  </a:ext>
                </a:extLst>
              </a:tr>
            </a:tbl>
          </a:graphicData>
        </a:graphic>
      </p:graphicFrame>
      <p:sp>
        <p:nvSpPr>
          <p:cNvPr id="5" name="Rectangle 4">
            <a:extLst>
              <a:ext uri="{FF2B5EF4-FFF2-40B4-BE49-F238E27FC236}">
                <a16:creationId xmlns:a16="http://schemas.microsoft.com/office/drawing/2014/main" id="{03D93FC9-E684-493F-B3B2-34507F4B161F}"/>
              </a:ext>
            </a:extLst>
          </p:cNvPr>
          <p:cNvSpPr/>
          <p:nvPr/>
        </p:nvSpPr>
        <p:spPr>
          <a:xfrm>
            <a:off x="384027" y="1268537"/>
            <a:ext cx="8353176" cy="6482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050" dirty="0">
                <a:solidFill>
                  <a:schemeClr val="tx1"/>
                </a:solidFill>
              </a:rPr>
              <a:t>Aukštųjų mokyklų / pedagogų rengimo centrų ir kitų PKT paslaugų teikėjų </a:t>
            </a:r>
            <a:r>
              <a:rPr lang="lt-LT" sz="1050" b="1" dirty="0">
                <a:solidFill>
                  <a:schemeClr val="tx1"/>
                </a:solidFill>
              </a:rPr>
              <a:t>atliekamos funkcijos nesiskiria, tačiau skiriasi kai kurių funkcijų mastai </a:t>
            </a:r>
            <a:r>
              <a:rPr lang="lt-LT" sz="1050" dirty="0">
                <a:solidFill>
                  <a:schemeClr val="tx1"/>
                </a:solidFill>
              </a:rPr>
              <a:t>– pvz., aukštosios mokyklos / pedagogų rengimo centrai orientuojasi į ilgalaikes PKT programas, kiti PKT teikėjai siūlo ir trumpesnes PKT veiklas. </a:t>
            </a:r>
            <a:endParaRPr lang="en-GB" sz="1050" dirty="0">
              <a:solidFill>
                <a:schemeClr val="tx1"/>
              </a:solidFill>
            </a:endParaRPr>
          </a:p>
        </p:txBody>
      </p:sp>
    </p:spTree>
    <p:extLst>
      <p:ext uri="{BB962C8B-B14F-4D97-AF65-F5344CB8AC3E}">
        <p14:creationId xmlns:p14="http://schemas.microsoft.com/office/powerpoint/2010/main" val="39352037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2A830FF9-5090-4B04-8449-AD8528C0503B}"/>
              </a:ext>
            </a:extLst>
          </p:cNvPr>
          <p:cNvSpPr/>
          <p:nvPr/>
        </p:nvSpPr>
        <p:spPr>
          <a:xfrm>
            <a:off x="403363" y="2753430"/>
            <a:ext cx="8343852" cy="468000"/>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r>
              <a:rPr lang="lt-LT" sz="1200">
                <a:solidFill>
                  <a:srgbClr val="000000"/>
                </a:solidFill>
                <a:latin typeface="Calibri" panose="020F0502020204030204" pitchFamily="34" charset="0"/>
                <a:cs typeface="Avenir Next Regular"/>
              </a:rPr>
              <a:t>Užsienio valstybių PKT apžvalga</a:t>
            </a:r>
          </a:p>
        </p:txBody>
      </p:sp>
      <p:sp>
        <p:nvSpPr>
          <p:cNvPr id="48" name="Rectangle 47">
            <a:extLst>
              <a:ext uri="{FF2B5EF4-FFF2-40B4-BE49-F238E27FC236}">
                <a16:creationId xmlns:a16="http://schemas.microsoft.com/office/drawing/2014/main" id="{49330149-D5AB-4AEC-BAA9-502770030AE3}"/>
              </a:ext>
            </a:extLst>
          </p:cNvPr>
          <p:cNvSpPr/>
          <p:nvPr/>
        </p:nvSpPr>
        <p:spPr>
          <a:xfrm>
            <a:off x="811160" y="2861004"/>
            <a:ext cx="286090" cy="276999"/>
          </a:xfrm>
          <a:prstGeom prst="rect">
            <a:avLst/>
          </a:prstGeom>
          <a:solidFill>
            <a:schemeClr val="bg1">
              <a:lumMod val="95000"/>
            </a:schemeClr>
          </a:solidFill>
        </p:spPr>
        <p:txBody>
          <a:bodyPr wrap="square">
            <a:spAutoFit/>
          </a:bodyPr>
          <a:lstStyle/>
          <a:p>
            <a:r>
              <a:rPr lang="lt-LT" sz="1200">
                <a:solidFill>
                  <a:srgbClr val="000000"/>
                </a:solidFill>
                <a:latin typeface="Calibri" panose="020F0502020204030204" pitchFamily="34" charset="0"/>
                <a:cs typeface="Avenir Next Demi Bold"/>
              </a:rPr>
              <a:t>4</a:t>
            </a:r>
            <a:endParaRPr lang="en-US" sz="1200">
              <a:solidFill>
                <a:srgbClr val="000000"/>
              </a:solidFill>
              <a:latin typeface="Calibri" panose="020F0502020204030204" pitchFamily="34" charset="0"/>
              <a:cs typeface="Avenir Next Demi Bold"/>
            </a:endParaRPr>
          </a:p>
        </p:txBody>
      </p:sp>
      <p:sp>
        <p:nvSpPr>
          <p:cNvPr id="44" name="Rectangle 43">
            <a:extLst>
              <a:ext uri="{FF2B5EF4-FFF2-40B4-BE49-F238E27FC236}">
                <a16:creationId xmlns:a16="http://schemas.microsoft.com/office/drawing/2014/main" id="{1CE5F035-5EF9-4C2B-A122-415CDBC76807}"/>
              </a:ext>
            </a:extLst>
          </p:cNvPr>
          <p:cNvSpPr/>
          <p:nvPr/>
        </p:nvSpPr>
        <p:spPr>
          <a:xfrm>
            <a:off x="406340" y="1052736"/>
            <a:ext cx="8343852" cy="468000"/>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lgn="just"/>
            <a:r>
              <a:rPr lang="lt-LT" sz="1200">
                <a:solidFill>
                  <a:sysClr val="windowText" lastClr="000000"/>
                </a:solidFill>
                <a:latin typeface="Calibri" panose="020F0502020204030204" pitchFamily="34" charset="0"/>
                <a:cs typeface="Avenir Next Regular"/>
              </a:rPr>
              <a:t>Tyrimo tikslas ir uždaviniai</a:t>
            </a:r>
          </a:p>
        </p:txBody>
      </p:sp>
      <p:sp>
        <p:nvSpPr>
          <p:cNvPr id="46" name="TextBox 45">
            <a:extLst>
              <a:ext uri="{FF2B5EF4-FFF2-40B4-BE49-F238E27FC236}">
                <a16:creationId xmlns:a16="http://schemas.microsoft.com/office/drawing/2014/main" id="{DE391F14-887D-4301-865D-8FA664521DBC}"/>
              </a:ext>
            </a:extLst>
          </p:cNvPr>
          <p:cNvSpPr txBox="1"/>
          <p:nvPr/>
        </p:nvSpPr>
        <p:spPr>
          <a:xfrm>
            <a:off x="811160" y="1166194"/>
            <a:ext cx="251585" cy="285335"/>
          </a:xfrm>
          <a:prstGeom prst="rect">
            <a:avLst/>
          </a:prstGeom>
          <a:solidFill>
            <a:schemeClr val="bg1">
              <a:lumMod val="85000"/>
            </a:schemeClr>
          </a:solidFill>
          <a:ln>
            <a:noFill/>
          </a:ln>
        </p:spPr>
        <p:txBody>
          <a:bodyPr wrap="square" rtlCol="0">
            <a:spAutoFit/>
          </a:bodyPr>
          <a:lstStyle/>
          <a:p>
            <a:pPr algn="just">
              <a:lnSpc>
                <a:spcPct val="110000"/>
              </a:lnSpc>
              <a:spcAft>
                <a:spcPts val="300"/>
              </a:spcAft>
            </a:pPr>
            <a:r>
              <a:rPr lang="lt-LT" sz="1200">
                <a:solidFill>
                  <a:sysClr val="windowText" lastClr="000000"/>
                </a:solidFill>
                <a:latin typeface="Calibri" panose="020F0502020204030204" pitchFamily="34" charset="0"/>
                <a:cs typeface="Times New Roman" panose="02020603050405020304" pitchFamily="18" charset="0"/>
              </a:rPr>
              <a:t>1</a:t>
            </a:r>
          </a:p>
        </p:txBody>
      </p:sp>
      <p:sp>
        <p:nvSpPr>
          <p:cNvPr id="42" name="Rectangle 41">
            <a:extLst>
              <a:ext uri="{FF2B5EF4-FFF2-40B4-BE49-F238E27FC236}">
                <a16:creationId xmlns:a16="http://schemas.microsoft.com/office/drawing/2014/main" id="{A9DE21E8-28C0-41CD-8F6B-AA3F5396D37D}"/>
              </a:ext>
            </a:extLst>
          </p:cNvPr>
          <p:cNvSpPr/>
          <p:nvPr/>
        </p:nvSpPr>
        <p:spPr>
          <a:xfrm>
            <a:off x="403363" y="1619634"/>
            <a:ext cx="8344800" cy="468000"/>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r>
              <a:rPr lang="lt-LT" sz="1200">
                <a:solidFill>
                  <a:srgbClr val="000000"/>
                </a:solidFill>
                <a:latin typeface="Calibri" panose="020F0502020204030204" pitchFamily="34" charset="0"/>
                <a:cs typeface="Avenir Next Regular"/>
              </a:rPr>
              <a:t>Metodologija</a:t>
            </a:r>
          </a:p>
        </p:txBody>
      </p:sp>
      <p:sp>
        <p:nvSpPr>
          <p:cNvPr id="43" name="Rectangle 42">
            <a:extLst>
              <a:ext uri="{FF2B5EF4-FFF2-40B4-BE49-F238E27FC236}">
                <a16:creationId xmlns:a16="http://schemas.microsoft.com/office/drawing/2014/main" id="{8DAE5641-2686-4C2F-9D6C-1E4E8AA504D4}"/>
              </a:ext>
            </a:extLst>
          </p:cNvPr>
          <p:cNvSpPr/>
          <p:nvPr/>
        </p:nvSpPr>
        <p:spPr>
          <a:xfrm>
            <a:off x="811160" y="1736688"/>
            <a:ext cx="263214" cy="276999"/>
          </a:xfrm>
          <a:prstGeom prst="rect">
            <a:avLst/>
          </a:prstGeom>
          <a:solidFill>
            <a:schemeClr val="bg1">
              <a:lumMod val="95000"/>
            </a:schemeClr>
          </a:solidFill>
        </p:spPr>
        <p:txBody>
          <a:bodyPr wrap="none">
            <a:spAutoFit/>
          </a:bodyPr>
          <a:lstStyle/>
          <a:p>
            <a:r>
              <a:rPr lang="lt-LT" sz="1200">
                <a:solidFill>
                  <a:srgbClr val="000000"/>
                </a:solidFill>
                <a:latin typeface="Calibri" panose="020F0502020204030204" pitchFamily="34" charset="0"/>
                <a:cs typeface="Avenir Next Demi Bold"/>
              </a:rPr>
              <a:t>2</a:t>
            </a:r>
            <a:endParaRPr lang="en-US" sz="1200">
              <a:solidFill>
                <a:srgbClr val="000000"/>
              </a:solidFill>
              <a:latin typeface="Calibri" panose="020F0502020204030204" pitchFamily="34" charset="0"/>
              <a:cs typeface="Avenir Next Demi Bold"/>
            </a:endParaRPr>
          </a:p>
        </p:txBody>
      </p:sp>
      <p:sp>
        <p:nvSpPr>
          <p:cNvPr id="40" name="Rectangle 39">
            <a:extLst>
              <a:ext uri="{FF2B5EF4-FFF2-40B4-BE49-F238E27FC236}">
                <a16:creationId xmlns:a16="http://schemas.microsoft.com/office/drawing/2014/main" id="{7A4F7596-014D-4FEF-AF47-6E163A37FE3C}"/>
              </a:ext>
            </a:extLst>
          </p:cNvPr>
          <p:cNvSpPr/>
          <p:nvPr/>
        </p:nvSpPr>
        <p:spPr>
          <a:xfrm>
            <a:off x="403363" y="2186532"/>
            <a:ext cx="8344800" cy="468000"/>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r>
              <a:rPr lang="lt-LT" sz="1200">
                <a:solidFill>
                  <a:srgbClr val="000000"/>
                </a:solidFill>
                <a:latin typeface="Calibri" panose="020F0502020204030204" pitchFamily="34" charset="0"/>
                <a:cs typeface="Avenir Next Regular"/>
              </a:rPr>
              <a:t>Lietuvos PKT apžvalga</a:t>
            </a:r>
          </a:p>
        </p:txBody>
      </p:sp>
      <p:sp>
        <p:nvSpPr>
          <p:cNvPr id="41" name="Rectangle 40">
            <a:extLst>
              <a:ext uri="{FF2B5EF4-FFF2-40B4-BE49-F238E27FC236}">
                <a16:creationId xmlns:a16="http://schemas.microsoft.com/office/drawing/2014/main" id="{00F32C2A-6E60-4126-8B0B-34C9C71E4591}"/>
              </a:ext>
            </a:extLst>
          </p:cNvPr>
          <p:cNvSpPr/>
          <p:nvPr/>
        </p:nvSpPr>
        <p:spPr>
          <a:xfrm>
            <a:off x="811160" y="2298846"/>
            <a:ext cx="263214" cy="276999"/>
          </a:xfrm>
          <a:prstGeom prst="rect">
            <a:avLst/>
          </a:prstGeom>
          <a:solidFill>
            <a:schemeClr val="bg1">
              <a:lumMod val="85000"/>
            </a:schemeClr>
          </a:solidFill>
        </p:spPr>
        <p:txBody>
          <a:bodyPr wrap="none">
            <a:spAutoFit/>
          </a:bodyPr>
          <a:lstStyle/>
          <a:p>
            <a:r>
              <a:rPr lang="lt-LT" sz="1200">
                <a:solidFill>
                  <a:srgbClr val="000000"/>
                </a:solidFill>
                <a:latin typeface="Calibri" panose="020F0502020204030204" pitchFamily="34" charset="0"/>
                <a:cs typeface="Avenir Next Demi Bold"/>
              </a:rPr>
              <a:t>3</a:t>
            </a:r>
            <a:endParaRPr lang="en-US" sz="1200">
              <a:solidFill>
                <a:srgbClr val="000000"/>
              </a:solidFill>
              <a:latin typeface="Calibri" panose="020F0502020204030204" pitchFamily="34" charset="0"/>
              <a:cs typeface="Avenir Next Demi Bold"/>
            </a:endParaRPr>
          </a:p>
        </p:txBody>
      </p:sp>
      <p:sp>
        <p:nvSpPr>
          <p:cNvPr id="38" name="Rectangle 37">
            <a:extLst>
              <a:ext uri="{FF2B5EF4-FFF2-40B4-BE49-F238E27FC236}">
                <a16:creationId xmlns:a16="http://schemas.microsoft.com/office/drawing/2014/main" id="{CE778F19-9973-4789-8210-501FEA8641BC}"/>
              </a:ext>
            </a:extLst>
          </p:cNvPr>
          <p:cNvSpPr/>
          <p:nvPr/>
        </p:nvSpPr>
        <p:spPr>
          <a:xfrm>
            <a:off x="402889" y="3320328"/>
            <a:ext cx="8344800" cy="468000"/>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r>
              <a:rPr lang="lt-LT" sz="1200">
                <a:solidFill>
                  <a:srgbClr val="000000"/>
                </a:solidFill>
                <a:latin typeface="Calibri" panose="020F0502020204030204" pitchFamily="34" charset="0"/>
                <a:cs typeface="Avenir Next Regular"/>
              </a:rPr>
              <a:t>Lietuvos pedagogų rengimo centrų funkcijų modelis</a:t>
            </a:r>
          </a:p>
        </p:txBody>
      </p:sp>
      <p:sp>
        <p:nvSpPr>
          <p:cNvPr id="39" name="Rectangle 38">
            <a:extLst>
              <a:ext uri="{FF2B5EF4-FFF2-40B4-BE49-F238E27FC236}">
                <a16:creationId xmlns:a16="http://schemas.microsoft.com/office/drawing/2014/main" id="{65E4ECB0-6DD4-4DB9-A648-CF5A7E48DDA3}"/>
              </a:ext>
            </a:extLst>
          </p:cNvPr>
          <p:cNvSpPr/>
          <p:nvPr/>
        </p:nvSpPr>
        <p:spPr>
          <a:xfrm>
            <a:off x="811160" y="3423162"/>
            <a:ext cx="263214" cy="276999"/>
          </a:xfrm>
          <a:prstGeom prst="rect">
            <a:avLst/>
          </a:prstGeom>
          <a:solidFill>
            <a:schemeClr val="bg1">
              <a:lumMod val="85000"/>
            </a:schemeClr>
          </a:solidFill>
        </p:spPr>
        <p:txBody>
          <a:bodyPr wrap="none">
            <a:spAutoFit/>
          </a:bodyPr>
          <a:lstStyle/>
          <a:p>
            <a:r>
              <a:rPr lang="en-GB" sz="1200">
                <a:solidFill>
                  <a:srgbClr val="000000"/>
                </a:solidFill>
                <a:latin typeface="Calibri" panose="020F0502020204030204" pitchFamily="34" charset="0"/>
                <a:cs typeface="Avenir Next Demi Bold"/>
              </a:rPr>
              <a:t>5</a:t>
            </a:r>
            <a:endParaRPr lang="en-US" sz="1200">
              <a:solidFill>
                <a:srgbClr val="000000"/>
              </a:solidFill>
              <a:latin typeface="Calibri" panose="020F0502020204030204" pitchFamily="34" charset="0"/>
              <a:cs typeface="Avenir Next Demi Bold"/>
            </a:endParaRPr>
          </a:p>
        </p:txBody>
      </p:sp>
      <p:sp>
        <p:nvSpPr>
          <p:cNvPr id="20" name="Rectangle 19">
            <a:extLst>
              <a:ext uri="{FF2B5EF4-FFF2-40B4-BE49-F238E27FC236}">
                <a16:creationId xmlns:a16="http://schemas.microsoft.com/office/drawing/2014/main" id="{09C4EFAC-A4B2-49EC-94ED-A1A510ADBE3A}"/>
              </a:ext>
            </a:extLst>
          </p:cNvPr>
          <p:cNvSpPr/>
          <p:nvPr/>
        </p:nvSpPr>
        <p:spPr>
          <a:xfrm>
            <a:off x="403913" y="3887224"/>
            <a:ext cx="8344800" cy="468000"/>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3"/>
            <a:r>
              <a:rPr lang="lt-LT" sz="1200">
                <a:solidFill>
                  <a:srgbClr val="000000"/>
                </a:solidFill>
                <a:latin typeface="Calibri" panose="020F0502020204030204" pitchFamily="34" charset="0"/>
                <a:cs typeface="Avenir Next Regular"/>
              </a:rPr>
              <a:t>Rekomendacijos</a:t>
            </a:r>
          </a:p>
        </p:txBody>
      </p:sp>
      <p:sp>
        <p:nvSpPr>
          <p:cNvPr id="21" name="Rectangle 20">
            <a:extLst>
              <a:ext uri="{FF2B5EF4-FFF2-40B4-BE49-F238E27FC236}">
                <a16:creationId xmlns:a16="http://schemas.microsoft.com/office/drawing/2014/main" id="{84D41F54-52B8-40D7-8F9B-2A3F6B9EA7D9}"/>
              </a:ext>
            </a:extLst>
          </p:cNvPr>
          <p:cNvSpPr/>
          <p:nvPr/>
        </p:nvSpPr>
        <p:spPr>
          <a:xfrm>
            <a:off x="811160" y="3985319"/>
            <a:ext cx="263214" cy="276999"/>
          </a:xfrm>
          <a:prstGeom prst="rect">
            <a:avLst/>
          </a:prstGeom>
          <a:solidFill>
            <a:schemeClr val="bg1">
              <a:lumMod val="95000"/>
            </a:schemeClr>
          </a:solidFill>
        </p:spPr>
        <p:txBody>
          <a:bodyPr wrap="none">
            <a:spAutoFit/>
          </a:bodyPr>
          <a:lstStyle/>
          <a:p>
            <a:r>
              <a:rPr lang="lt-LT" sz="1200">
                <a:solidFill>
                  <a:srgbClr val="000000"/>
                </a:solidFill>
                <a:latin typeface="Calibri" panose="020F0502020204030204" pitchFamily="34" charset="0"/>
                <a:cs typeface="Avenir Next Demi Bold"/>
              </a:rPr>
              <a:t>6</a:t>
            </a:r>
            <a:endParaRPr lang="en-US" sz="1200">
              <a:solidFill>
                <a:srgbClr val="000000"/>
              </a:solidFill>
              <a:latin typeface="Calibri" panose="020F0502020204030204" pitchFamily="34" charset="0"/>
              <a:cs typeface="Avenir Next Demi Bold"/>
            </a:endParaRPr>
          </a:p>
        </p:txBody>
      </p:sp>
      <p:sp>
        <p:nvSpPr>
          <p:cNvPr id="22" name="Title 1">
            <a:extLst>
              <a:ext uri="{FF2B5EF4-FFF2-40B4-BE49-F238E27FC236}">
                <a16:creationId xmlns:a16="http://schemas.microsoft.com/office/drawing/2014/main" id="{7BF80FA0-FC72-4F79-800B-8CB8467C12DC}"/>
              </a:ext>
            </a:extLst>
          </p:cNvPr>
          <p:cNvSpPr>
            <a:spLocks noGrp="1"/>
          </p:cNvSpPr>
          <p:nvPr>
            <p:ph type="title"/>
          </p:nvPr>
        </p:nvSpPr>
        <p:spPr>
          <a:xfrm>
            <a:off x="395536" y="410596"/>
            <a:ext cx="8353177" cy="497454"/>
          </a:xfrm>
        </p:spPr>
        <p:txBody>
          <a:bodyPr>
            <a:noAutofit/>
          </a:bodyPr>
          <a:lstStyle/>
          <a:p>
            <a:r>
              <a:rPr lang="en-GB" err="1"/>
              <a:t>Turinys</a:t>
            </a:r>
            <a:r>
              <a:rPr lang="lt-LT"/>
              <a:t/>
            </a:r>
            <a:br>
              <a:rPr lang="lt-LT"/>
            </a:br>
            <a:endParaRPr lang="lt-LT"/>
          </a:p>
        </p:txBody>
      </p:sp>
    </p:spTree>
    <p:extLst>
      <p:ext uri="{BB962C8B-B14F-4D97-AF65-F5344CB8AC3E}">
        <p14:creationId xmlns:p14="http://schemas.microsoft.com/office/powerpoint/2010/main" val="22016336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5DC01-798D-402B-A2E3-D5BC7063749E}"/>
              </a:ext>
            </a:extLst>
          </p:cNvPr>
          <p:cNvSpPr>
            <a:spLocks noGrp="1"/>
          </p:cNvSpPr>
          <p:nvPr>
            <p:ph type="title"/>
          </p:nvPr>
        </p:nvSpPr>
        <p:spPr/>
        <p:txBody>
          <a:bodyPr/>
          <a:lstStyle/>
          <a:p>
            <a:r>
              <a:rPr lang="lt-LT" dirty="0"/>
              <a:t>Išvados (</a:t>
            </a:r>
            <a:r>
              <a:rPr lang="en-GB" dirty="0"/>
              <a:t>1 / 3)</a:t>
            </a:r>
          </a:p>
        </p:txBody>
      </p:sp>
      <p:sp>
        <p:nvSpPr>
          <p:cNvPr id="4" name="Rectangle 3">
            <a:extLst>
              <a:ext uri="{FF2B5EF4-FFF2-40B4-BE49-F238E27FC236}">
                <a16:creationId xmlns:a16="http://schemas.microsoft.com/office/drawing/2014/main" id="{C7369088-8C9B-4B75-AEDD-98F46AD92C7F}"/>
              </a:ext>
            </a:extLst>
          </p:cNvPr>
          <p:cNvSpPr/>
          <p:nvPr/>
        </p:nvSpPr>
        <p:spPr>
          <a:xfrm>
            <a:off x="471736" y="1371600"/>
            <a:ext cx="537152" cy="6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1. </a:t>
            </a:r>
          </a:p>
        </p:txBody>
      </p:sp>
      <p:sp>
        <p:nvSpPr>
          <p:cNvPr id="5" name="Rectangle 4">
            <a:extLst>
              <a:ext uri="{FF2B5EF4-FFF2-40B4-BE49-F238E27FC236}">
                <a16:creationId xmlns:a16="http://schemas.microsoft.com/office/drawing/2014/main" id="{893B277B-12AE-4BA8-856F-DB500CFDA6D3}"/>
              </a:ext>
            </a:extLst>
          </p:cNvPr>
          <p:cNvSpPr/>
          <p:nvPr/>
        </p:nvSpPr>
        <p:spPr>
          <a:xfrm>
            <a:off x="1222248" y="1371600"/>
            <a:ext cx="7510976"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ysClr val="windowText" lastClr="000000"/>
                </a:solidFill>
              </a:rPr>
              <a:t>Lietuvoje pedagogų kvalifikacijos tobulinimas reglamentuojamas nacionaliniais teisės aktais, kuriuose numatomos PKT sistemos dalyvių funkcijos ir atsakomybės, pedagogų teisė dalyvauti PKT veiklose, PKT finansavimas ir kt. PKT sistemai aktualūs aspektai</a:t>
            </a:r>
            <a:endParaRPr lang="en-GB" sz="1200" dirty="0">
              <a:solidFill>
                <a:sysClr val="windowText" lastClr="000000"/>
              </a:solidFill>
            </a:endParaRPr>
          </a:p>
        </p:txBody>
      </p:sp>
      <p:sp>
        <p:nvSpPr>
          <p:cNvPr id="6" name="Rectangle 5">
            <a:extLst>
              <a:ext uri="{FF2B5EF4-FFF2-40B4-BE49-F238E27FC236}">
                <a16:creationId xmlns:a16="http://schemas.microsoft.com/office/drawing/2014/main" id="{503EA29B-690F-4CD7-8A66-8361C671F35A}"/>
              </a:ext>
            </a:extLst>
          </p:cNvPr>
          <p:cNvSpPr/>
          <p:nvPr/>
        </p:nvSpPr>
        <p:spPr>
          <a:xfrm>
            <a:off x="471736" y="2242718"/>
            <a:ext cx="537152" cy="6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2. </a:t>
            </a:r>
          </a:p>
        </p:txBody>
      </p:sp>
      <p:sp>
        <p:nvSpPr>
          <p:cNvPr id="7" name="Rectangle 6">
            <a:extLst>
              <a:ext uri="{FF2B5EF4-FFF2-40B4-BE49-F238E27FC236}">
                <a16:creationId xmlns:a16="http://schemas.microsoft.com/office/drawing/2014/main" id="{826BF093-AB05-4D26-B3D8-C9E9282BAF0F}"/>
              </a:ext>
            </a:extLst>
          </p:cNvPr>
          <p:cNvSpPr/>
          <p:nvPr/>
        </p:nvSpPr>
        <p:spPr>
          <a:xfrm>
            <a:off x="1222248" y="2242718"/>
            <a:ext cx="7510976"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ysClr val="windowText" lastClr="000000"/>
                </a:solidFill>
              </a:rPr>
              <a:t>Lietuvoje planuojant pedagogų kvalifikacijos tobulinimą siekiama užtikrinti dermę tarp individualių pedagogo, švietimo įstaigos, konkrečios savivaldybės bei nacionaliniu lygiu nustatytų poreikių</a:t>
            </a:r>
            <a:endParaRPr lang="en-GB" sz="1200" dirty="0">
              <a:solidFill>
                <a:sysClr val="windowText" lastClr="000000"/>
              </a:solidFill>
            </a:endParaRPr>
          </a:p>
        </p:txBody>
      </p:sp>
      <p:sp>
        <p:nvSpPr>
          <p:cNvPr id="8" name="Rectangle 7">
            <a:extLst>
              <a:ext uri="{FF2B5EF4-FFF2-40B4-BE49-F238E27FC236}">
                <a16:creationId xmlns:a16="http://schemas.microsoft.com/office/drawing/2014/main" id="{CC25A4F4-111C-471E-8ABB-CC3496A5A222}"/>
              </a:ext>
            </a:extLst>
          </p:cNvPr>
          <p:cNvSpPr/>
          <p:nvPr/>
        </p:nvSpPr>
        <p:spPr>
          <a:xfrm>
            <a:off x="471736" y="3113836"/>
            <a:ext cx="537152" cy="6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3. </a:t>
            </a:r>
          </a:p>
        </p:txBody>
      </p:sp>
      <p:sp>
        <p:nvSpPr>
          <p:cNvPr id="9" name="Rectangle 8">
            <a:extLst>
              <a:ext uri="{FF2B5EF4-FFF2-40B4-BE49-F238E27FC236}">
                <a16:creationId xmlns:a16="http://schemas.microsoft.com/office/drawing/2014/main" id="{6B487873-199A-4A7E-90C9-846BFF217519}"/>
              </a:ext>
            </a:extLst>
          </p:cNvPr>
          <p:cNvSpPr/>
          <p:nvPr/>
        </p:nvSpPr>
        <p:spPr>
          <a:xfrm>
            <a:off x="1222248" y="3113836"/>
            <a:ext cx="7510976"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ysClr val="windowText" lastClr="000000"/>
                </a:solidFill>
              </a:rPr>
              <a:t>Lietuvoje PKT vykdytojai rengia ir vykdo PKT programas, užtikrina savo teikiamų PKT paslaugų kokybę, vykdo savo teikiamų PKT paslaugų įtakos pedagogų profesinei veiklai stebėseną</a:t>
            </a:r>
            <a:endParaRPr lang="en-GB" sz="1200" dirty="0">
              <a:solidFill>
                <a:sysClr val="windowText" lastClr="000000"/>
              </a:solidFill>
            </a:endParaRPr>
          </a:p>
        </p:txBody>
      </p:sp>
      <p:sp>
        <p:nvSpPr>
          <p:cNvPr id="10" name="Rectangle 9">
            <a:extLst>
              <a:ext uri="{FF2B5EF4-FFF2-40B4-BE49-F238E27FC236}">
                <a16:creationId xmlns:a16="http://schemas.microsoft.com/office/drawing/2014/main" id="{9B837D8C-0805-47DB-821B-BB4983CF3A5B}"/>
              </a:ext>
            </a:extLst>
          </p:cNvPr>
          <p:cNvSpPr/>
          <p:nvPr/>
        </p:nvSpPr>
        <p:spPr>
          <a:xfrm>
            <a:off x="471736" y="3984954"/>
            <a:ext cx="537152" cy="6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4. </a:t>
            </a:r>
          </a:p>
        </p:txBody>
      </p:sp>
      <p:sp>
        <p:nvSpPr>
          <p:cNvPr id="11" name="Rectangle 10">
            <a:extLst>
              <a:ext uri="{FF2B5EF4-FFF2-40B4-BE49-F238E27FC236}">
                <a16:creationId xmlns:a16="http://schemas.microsoft.com/office/drawing/2014/main" id="{74300AA2-0AAB-4B72-8517-140C5EFE4D62}"/>
              </a:ext>
            </a:extLst>
          </p:cNvPr>
          <p:cNvSpPr/>
          <p:nvPr/>
        </p:nvSpPr>
        <p:spPr>
          <a:xfrm>
            <a:off x="1222248" y="3984954"/>
            <a:ext cx="7510976"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ysClr val="windowText" lastClr="000000"/>
                </a:solidFill>
              </a:rPr>
              <a:t>Estijoje kompetencijų reikalavimai yra pateikiami mokytojų profesiniame standarte, tačiau minimalus PKT valandų skaičius nėra nustatomas</a:t>
            </a:r>
            <a:endParaRPr lang="en-GB" sz="1200" dirty="0">
              <a:solidFill>
                <a:sysClr val="windowText" lastClr="000000"/>
              </a:solidFill>
            </a:endParaRPr>
          </a:p>
        </p:txBody>
      </p:sp>
      <p:sp>
        <p:nvSpPr>
          <p:cNvPr id="12" name="Rectangle 11">
            <a:extLst>
              <a:ext uri="{FF2B5EF4-FFF2-40B4-BE49-F238E27FC236}">
                <a16:creationId xmlns:a16="http://schemas.microsoft.com/office/drawing/2014/main" id="{FE29003E-E9AE-40CC-9320-C35C45AB4547}"/>
              </a:ext>
            </a:extLst>
          </p:cNvPr>
          <p:cNvSpPr/>
          <p:nvPr/>
        </p:nvSpPr>
        <p:spPr>
          <a:xfrm>
            <a:off x="471736" y="4856072"/>
            <a:ext cx="537152" cy="6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5. </a:t>
            </a:r>
          </a:p>
        </p:txBody>
      </p:sp>
      <p:sp>
        <p:nvSpPr>
          <p:cNvPr id="13" name="Rectangle 12">
            <a:extLst>
              <a:ext uri="{FF2B5EF4-FFF2-40B4-BE49-F238E27FC236}">
                <a16:creationId xmlns:a16="http://schemas.microsoft.com/office/drawing/2014/main" id="{B873A06A-4D1B-4F1A-99CA-463EC4E07D83}"/>
              </a:ext>
            </a:extLst>
          </p:cNvPr>
          <p:cNvSpPr/>
          <p:nvPr/>
        </p:nvSpPr>
        <p:spPr>
          <a:xfrm>
            <a:off x="1222248" y="4856072"/>
            <a:ext cx="7510976"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ysClr val="windowText" lastClr="000000"/>
                </a:solidFill>
              </a:rPr>
              <a:t>Estijoje didelis dėmesys skiriamas stebėsenos procesui, kuris atliekamas keliais lygmenimis, tačiau PKT programų akreditacija nevykdoma</a:t>
            </a:r>
            <a:endParaRPr lang="en-GB" sz="1200" dirty="0">
              <a:solidFill>
                <a:sysClr val="windowText" lastClr="000000"/>
              </a:solidFill>
            </a:endParaRPr>
          </a:p>
        </p:txBody>
      </p:sp>
    </p:spTree>
    <p:extLst>
      <p:ext uri="{BB962C8B-B14F-4D97-AF65-F5344CB8AC3E}">
        <p14:creationId xmlns:p14="http://schemas.microsoft.com/office/powerpoint/2010/main" val="6295329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5DC01-798D-402B-A2E3-D5BC7063749E}"/>
              </a:ext>
            </a:extLst>
          </p:cNvPr>
          <p:cNvSpPr>
            <a:spLocks noGrp="1"/>
          </p:cNvSpPr>
          <p:nvPr>
            <p:ph type="title"/>
          </p:nvPr>
        </p:nvSpPr>
        <p:spPr/>
        <p:txBody>
          <a:bodyPr/>
          <a:lstStyle/>
          <a:p>
            <a:r>
              <a:rPr lang="lt-LT" dirty="0"/>
              <a:t>Išvados</a:t>
            </a:r>
            <a:r>
              <a:rPr lang="en-GB" dirty="0"/>
              <a:t> (2 / 3)</a:t>
            </a:r>
          </a:p>
        </p:txBody>
      </p:sp>
      <p:sp>
        <p:nvSpPr>
          <p:cNvPr id="4" name="Rectangle 3">
            <a:extLst>
              <a:ext uri="{FF2B5EF4-FFF2-40B4-BE49-F238E27FC236}">
                <a16:creationId xmlns:a16="http://schemas.microsoft.com/office/drawing/2014/main" id="{C7369088-8C9B-4B75-AEDD-98F46AD92C7F}"/>
              </a:ext>
            </a:extLst>
          </p:cNvPr>
          <p:cNvSpPr/>
          <p:nvPr/>
        </p:nvSpPr>
        <p:spPr>
          <a:xfrm>
            <a:off x="471736" y="2240280"/>
            <a:ext cx="537152" cy="6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7. </a:t>
            </a:r>
          </a:p>
        </p:txBody>
      </p:sp>
      <p:sp>
        <p:nvSpPr>
          <p:cNvPr id="5" name="Rectangle 4">
            <a:extLst>
              <a:ext uri="{FF2B5EF4-FFF2-40B4-BE49-F238E27FC236}">
                <a16:creationId xmlns:a16="http://schemas.microsoft.com/office/drawing/2014/main" id="{893B277B-12AE-4BA8-856F-DB500CFDA6D3}"/>
              </a:ext>
            </a:extLst>
          </p:cNvPr>
          <p:cNvSpPr/>
          <p:nvPr/>
        </p:nvSpPr>
        <p:spPr>
          <a:xfrm>
            <a:off x="1237488" y="2240280"/>
            <a:ext cx="7510976"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ysClr val="windowText" lastClr="000000"/>
                </a:solidFill>
              </a:rPr>
              <a:t>Suomijoje PKT veiklos organizuojamos ir planuojamos savivaldos arba mokyklų lygiu, siekiama užtikrinti tvaresnį PKT planavimą įvedant ilgalaikius planus </a:t>
            </a:r>
            <a:endParaRPr lang="en-GB" sz="1200" dirty="0">
              <a:solidFill>
                <a:sysClr val="windowText" lastClr="000000"/>
              </a:solidFill>
            </a:endParaRPr>
          </a:p>
        </p:txBody>
      </p:sp>
      <p:sp>
        <p:nvSpPr>
          <p:cNvPr id="6" name="Rectangle 5">
            <a:extLst>
              <a:ext uri="{FF2B5EF4-FFF2-40B4-BE49-F238E27FC236}">
                <a16:creationId xmlns:a16="http://schemas.microsoft.com/office/drawing/2014/main" id="{503EA29B-690F-4CD7-8A66-8361C671F35A}"/>
              </a:ext>
            </a:extLst>
          </p:cNvPr>
          <p:cNvSpPr/>
          <p:nvPr/>
        </p:nvSpPr>
        <p:spPr>
          <a:xfrm>
            <a:off x="471736" y="3096768"/>
            <a:ext cx="537152" cy="6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8. </a:t>
            </a:r>
          </a:p>
        </p:txBody>
      </p:sp>
      <p:sp>
        <p:nvSpPr>
          <p:cNvPr id="7" name="Rectangle 6">
            <a:extLst>
              <a:ext uri="{FF2B5EF4-FFF2-40B4-BE49-F238E27FC236}">
                <a16:creationId xmlns:a16="http://schemas.microsoft.com/office/drawing/2014/main" id="{826BF093-AB05-4D26-B3D8-C9E9282BAF0F}"/>
              </a:ext>
            </a:extLst>
          </p:cNvPr>
          <p:cNvSpPr/>
          <p:nvPr/>
        </p:nvSpPr>
        <p:spPr>
          <a:xfrm>
            <a:off x="1234440" y="3096768"/>
            <a:ext cx="7510976"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ysClr val="windowText" lastClr="000000"/>
                </a:solidFill>
              </a:rPr>
              <a:t>Nyderlandų PKT sistemos išskirtinumas: pedagogai gali lankyti bakalauro, magistro ir doktorantūros laipsnį suteikiančias programas PKT kontekste gaudami tobulėjimo stipendiją </a:t>
            </a:r>
          </a:p>
        </p:txBody>
      </p:sp>
      <p:sp>
        <p:nvSpPr>
          <p:cNvPr id="8" name="Rectangle 7">
            <a:extLst>
              <a:ext uri="{FF2B5EF4-FFF2-40B4-BE49-F238E27FC236}">
                <a16:creationId xmlns:a16="http://schemas.microsoft.com/office/drawing/2014/main" id="{CC25A4F4-111C-471E-8ABB-CC3496A5A222}"/>
              </a:ext>
            </a:extLst>
          </p:cNvPr>
          <p:cNvSpPr/>
          <p:nvPr/>
        </p:nvSpPr>
        <p:spPr>
          <a:xfrm>
            <a:off x="471736" y="3953256"/>
            <a:ext cx="537152" cy="6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9. </a:t>
            </a:r>
          </a:p>
        </p:txBody>
      </p:sp>
      <p:sp>
        <p:nvSpPr>
          <p:cNvPr id="9" name="Rectangle 8">
            <a:extLst>
              <a:ext uri="{FF2B5EF4-FFF2-40B4-BE49-F238E27FC236}">
                <a16:creationId xmlns:a16="http://schemas.microsoft.com/office/drawing/2014/main" id="{6B487873-199A-4A7E-90C9-846BFF217519}"/>
              </a:ext>
            </a:extLst>
          </p:cNvPr>
          <p:cNvSpPr/>
          <p:nvPr/>
        </p:nvSpPr>
        <p:spPr>
          <a:xfrm>
            <a:off x="1231392" y="3953256"/>
            <a:ext cx="7510976"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ysClr val="windowText" lastClr="000000"/>
                </a:solidFill>
              </a:rPr>
              <a:t>Nyderlanduose PKT paslaugas teikia tiek valstybės įstatymuose nustatyti, tiek įstatymuose nenustatyti PKT teikėjai</a:t>
            </a:r>
            <a:endParaRPr lang="en-GB" sz="1200" dirty="0">
              <a:solidFill>
                <a:sysClr val="windowText" lastClr="000000"/>
              </a:solidFill>
            </a:endParaRPr>
          </a:p>
        </p:txBody>
      </p:sp>
      <p:sp>
        <p:nvSpPr>
          <p:cNvPr id="10" name="Rectangle 9">
            <a:extLst>
              <a:ext uri="{FF2B5EF4-FFF2-40B4-BE49-F238E27FC236}">
                <a16:creationId xmlns:a16="http://schemas.microsoft.com/office/drawing/2014/main" id="{9B837D8C-0805-47DB-821B-BB4983CF3A5B}"/>
              </a:ext>
            </a:extLst>
          </p:cNvPr>
          <p:cNvSpPr/>
          <p:nvPr/>
        </p:nvSpPr>
        <p:spPr>
          <a:xfrm>
            <a:off x="471736" y="4809744"/>
            <a:ext cx="537152" cy="6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10. </a:t>
            </a:r>
          </a:p>
        </p:txBody>
      </p:sp>
      <p:sp>
        <p:nvSpPr>
          <p:cNvPr id="11" name="Rectangle 10">
            <a:extLst>
              <a:ext uri="{FF2B5EF4-FFF2-40B4-BE49-F238E27FC236}">
                <a16:creationId xmlns:a16="http://schemas.microsoft.com/office/drawing/2014/main" id="{74300AA2-0AAB-4B72-8517-140C5EFE4D62}"/>
              </a:ext>
            </a:extLst>
          </p:cNvPr>
          <p:cNvSpPr/>
          <p:nvPr/>
        </p:nvSpPr>
        <p:spPr>
          <a:xfrm>
            <a:off x="1237488" y="4809744"/>
            <a:ext cx="7510976"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ysClr val="windowText" lastClr="000000"/>
                </a:solidFill>
              </a:rPr>
              <a:t>Airijoje nėra teisės aktais numatytų įpareigojimų mokytojams dalyvauti PKT veiklose, išskyrus naujus mokytojus, kurie privalo atlikti pedagoginę stažuotę</a:t>
            </a:r>
            <a:endParaRPr lang="en-GB" sz="1200" dirty="0">
              <a:solidFill>
                <a:sysClr val="windowText" lastClr="000000"/>
              </a:solidFill>
            </a:endParaRPr>
          </a:p>
        </p:txBody>
      </p:sp>
      <p:sp>
        <p:nvSpPr>
          <p:cNvPr id="16" name="Rectangle 15">
            <a:extLst>
              <a:ext uri="{FF2B5EF4-FFF2-40B4-BE49-F238E27FC236}">
                <a16:creationId xmlns:a16="http://schemas.microsoft.com/office/drawing/2014/main" id="{D17D82D4-8C32-4A03-98DF-695F9A8E712C}"/>
              </a:ext>
            </a:extLst>
          </p:cNvPr>
          <p:cNvSpPr/>
          <p:nvPr/>
        </p:nvSpPr>
        <p:spPr>
          <a:xfrm>
            <a:off x="471736" y="1383792"/>
            <a:ext cx="537152" cy="6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6. </a:t>
            </a:r>
          </a:p>
        </p:txBody>
      </p:sp>
      <p:sp>
        <p:nvSpPr>
          <p:cNvPr id="17" name="Rectangle 16">
            <a:extLst>
              <a:ext uri="{FF2B5EF4-FFF2-40B4-BE49-F238E27FC236}">
                <a16:creationId xmlns:a16="http://schemas.microsoft.com/office/drawing/2014/main" id="{D05B3035-F9EA-4E0F-9E1E-C17A36F3FD14}"/>
              </a:ext>
            </a:extLst>
          </p:cNvPr>
          <p:cNvSpPr/>
          <p:nvPr/>
        </p:nvSpPr>
        <p:spPr>
          <a:xfrm>
            <a:off x="1222248" y="1383792"/>
            <a:ext cx="7510976"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ysClr val="windowText" lastClr="000000"/>
                </a:solidFill>
              </a:rPr>
              <a:t>Suomijoje mokytojai privalo dalyvauti PKT veiklose 1–5 dienas per metus, reikalavimai PKT kiekvienoje savivaldoje yra skirtingi</a:t>
            </a:r>
            <a:endParaRPr lang="en-GB" sz="1200" dirty="0">
              <a:solidFill>
                <a:sysClr val="windowText" lastClr="000000"/>
              </a:solidFill>
            </a:endParaRPr>
          </a:p>
        </p:txBody>
      </p:sp>
    </p:spTree>
    <p:extLst>
      <p:ext uri="{BB962C8B-B14F-4D97-AF65-F5344CB8AC3E}">
        <p14:creationId xmlns:p14="http://schemas.microsoft.com/office/powerpoint/2010/main" val="27874973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5DC01-798D-402B-A2E3-D5BC7063749E}"/>
              </a:ext>
            </a:extLst>
          </p:cNvPr>
          <p:cNvSpPr>
            <a:spLocks noGrp="1"/>
          </p:cNvSpPr>
          <p:nvPr>
            <p:ph type="title"/>
          </p:nvPr>
        </p:nvSpPr>
        <p:spPr/>
        <p:txBody>
          <a:bodyPr/>
          <a:lstStyle/>
          <a:p>
            <a:r>
              <a:rPr lang="lt-LT" dirty="0"/>
              <a:t>Išvados</a:t>
            </a:r>
            <a:r>
              <a:rPr lang="en-GB" dirty="0"/>
              <a:t> (3 / 3)</a:t>
            </a:r>
          </a:p>
        </p:txBody>
      </p:sp>
      <p:sp>
        <p:nvSpPr>
          <p:cNvPr id="4" name="Rectangle 3">
            <a:extLst>
              <a:ext uri="{FF2B5EF4-FFF2-40B4-BE49-F238E27FC236}">
                <a16:creationId xmlns:a16="http://schemas.microsoft.com/office/drawing/2014/main" id="{C7369088-8C9B-4B75-AEDD-98F46AD92C7F}"/>
              </a:ext>
            </a:extLst>
          </p:cNvPr>
          <p:cNvSpPr/>
          <p:nvPr/>
        </p:nvSpPr>
        <p:spPr>
          <a:xfrm>
            <a:off x="471736" y="2276856"/>
            <a:ext cx="537152" cy="108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12. </a:t>
            </a:r>
          </a:p>
        </p:txBody>
      </p:sp>
      <p:sp>
        <p:nvSpPr>
          <p:cNvPr id="5" name="Rectangle 4">
            <a:extLst>
              <a:ext uri="{FF2B5EF4-FFF2-40B4-BE49-F238E27FC236}">
                <a16:creationId xmlns:a16="http://schemas.microsoft.com/office/drawing/2014/main" id="{893B277B-12AE-4BA8-856F-DB500CFDA6D3}"/>
              </a:ext>
            </a:extLst>
          </p:cNvPr>
          <p:cNvSpPr/>
          <p:nvPr/>
        </p:nvSpPr>
        <p:spPr>
          <a:xfrm>
            <a:off x="1225296" y="2276856"/>
            <a:ext cx="7510976"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ysClr val="windowText" lastClr="000000"/>
                </a:solidFill>
              </a:rPr>
              <a:t>Užsienio valstybių PKT sistemos analizė atskleidė, kad PKT sistemoje veikia įvairios institucijos. Finansavimą PKT skiria su švietimu susijusios ministerijos, PKT poreikiai vertinami nacionaliniu, vietos, mokyklų ir pedagogų lygmeniu, PKT programas rengia ir vykdo įvairūs akredituoti PKT teikėjai. Be to, stebėsenos funkcija pavesta ministerijoms pavaldžioms institucijoms, o PKT programų kokybę užtikrina patys PKT teikėjai bei išorinės institucijos, akredituojančios PKT programas.</a:t>
            </a:r>
          </a:p>
        </p:txBody>
      </p:sp>
      <p:sp>
        <p:nvSpPr>
          <p:cNvPr id="6" name="Rectangle 5">
            <a:extLst>
              <a:ext uri="{FF2B5EF4-FFF2-40B4-BE49-F238E27FC236}">
                <a16:creationId xmlns:a16="http://schemas.microsoft.com/office/drawing/2014/main" id="{503EA29B-690F-4CD7-8A66-8361C671F35A}"/>
              </a:ext>
            </a:extLst>
          </p:cNvPr>
          <p:cNvSpPr/>
          <p:nvPr/>
        </p:nvSpPr>
        <p:spPr>
          <a:xfrm>
            <a:off x="471736" y="3581400"/>
            <a:ext cx="537152" cy="6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13. </a:t>
            </a:r>
          </a:p>
        </p:txBody>
      </p:sp>
      <p:sp>
        <p:nvSpPr>
          <p:cNvPr id="7" name="Rectangle 6">
            <a:extLst>
              <a:ext uri="{FF2B5EF4-FFF2-40B4-BE49-F238E27FC236}">
                <a16:creationId xmlns:a16="http://schemas.microsoft.com/office/drawing/2014/main" id="{826BF093-AB05-4D26-B3D8-C9E9282BAF0F}"/>
              </a:ext>
            </a:extLst>
          </p:cNvPr>
          <p:cNvSpPr/>
          <p:nvPr/>
        </p:nvSpPr>
        <p:spPr>
          <a:xfrm>
            <a:off x="1225296" y="3581400"/>
            <a:ext cx="7510976"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ysClr val="windowText" lastClr="000000"/>
                </a:solidFill>
              </a:rPr>
              <a:t>Vertinant Lietuvos aukštųjų mokyklų / pedagogų rengimo centrų vaidmenį ir lyginant juos su užsienio šalių aukštosiomis mokyklomis / pedagogų rengimo centrais, nustatyta, kad Lietuvos aukštosios mokyklos / pedagogų rengimo centrai atliekamų funkcijų gausa išsiskiria kitų šalių kontekste</a:t>
            </a:r>
          </a:p>
        </p:txBody>
      </p:sp>
      <p:sp>
        <p:nvSpPr>
          <p:cNvPr id="8" name="Rectangle 7">
            <a:extLst>
              <a:ext uri="{FF2B5EF4-FFF2-40B4-BE49-F238E27FC236}">
                <a16:creationId xmlns:a16="http://schemas.microsoft.com/office/drawing/2014/main" id="{CC25A4F4-111C-471E-8ABB-CC3496A5A222}"/>
              </a:ext>
            </a:extLst>
          </p:cNvPr>
          <p:cNvSpPr/>
          <p:nvPr/>
        </p:nvSpPr>
        <p:spPr>
          <a:xfrm>
            <a:off x="471736" y="4447032"/>
            <a:ext cx="537152" cy="6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14. </a:t>
            </a:r>
          </a:p>
        </p:txBody>
      </p:sp>
      <p:sp>
        <p:nvSpPr>
          <p:cNvPr id="9" name="Rectangle 8">
            <a:extLst>
              <a:ext uri="{FF2B5EF4-FFF2-40B4-BE49-F238E27FC236}">
                <a16:creationId xmlns:a16="http://schemas.microsoft.com/office/drawing/2014/main" id="{6B487873-199A-4A7E-90C9-846BFF217519}"/>
              </a:ext>
            </a:extLst>
          </p:cNvPr>
          <p:cNvSpPr/>
          <p:nvPr/>
        </p:nvSpPr>
        <p:spPr>
          <a:xfrm>
            <a:off x="1225296" y="4447032"/>
            <a:ext cx="7510976"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ysClr val="windowText" lastClr="000000"/>
                </a:solidFill>
              </a:rPr>
              <a:t>Tyrimo metu nustatyta, kad aukštosios mokyklos / pedagogų rengimo centrai neturi išskirtinių funkcijų ir atsakomybių PKT sistemoje palyginus su kitais PKT sistemoje veikiančias PKT teikėjais</a:t>
            </a:r>
            <a:endParaRPr lang="en-GB" sz="1200" dirty="0">
              <a:solidFill>
                <a:sysClr val="windowText" lastClr="000000"/>
              </a:solidFill>
            </a:endParaRPr>
          </a:p>
        </p:txBody>
      </p:sp>
      <p:sp>
        <p:nvSpPr>
          <p:cNvPr id="16" name="Rectangle 15">
            <a:extLst>
              <a:ext uri="{FF2B5EF4-FFF2-40B4-BE49-F238E27FC236}">
                <a16:creationId xmlns:a16="http://schemas.microsoft.com/office/drawing/2014/main" id="{19F14EA9-4266-4D52-8DE2-144DDAB2C7CB}"/>
              </a:ext>
            </a:extLst>
          </p:cNvPr>
          <p:cNvSpPr/>
          <p:nvPr/>
        </p:nvSpPr>
        <p:spPr>
          <a:xfrm>
            <a:off x="471736" y="1377696"/>
            <a:ext cx="537152" cy="6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11. </a:t>
            </a:r>
          </a:p>
        </p:txBody>
      </p:sp>
      <p:sp>
        <p:nvSpPr>
          <p:cNvPr id="17" name="Rectangle 16">
            <a:extLst>
              <a:ext uri="{FF2B5EF4-FFF2-40B4-BE49-F238E27FC236}">
                <a16:creationId xmlns:a16="http://schemas.microsoft.com/office/drawing/2014/main" id="{2EAEDEEC-CB05-48AA-9DF5-3BD260E37195}"/>
              </a:ext>
            </a:extLst>
          </p:cNvPr>
          <p:cNvSpPr/>
          <p:nvPr/>
        </p:nvSpPr>
        <p:spPr>
          <a:xfrm>
            <a:off x="1225296" y="1377696"/>
            <a:ext cx="7510976" cy="68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dirty="0">
                <a:solidFill>
                  <a:sysClr val="windowText" lastClr="000000"/>
                </a:solidFill>
              </a:rPr>
              <a:t>Airija turi išvystytą PKT sistemą, kurioje teikiamos paslaugos derinamos su švietimo prioritetais, politikos pokyčiais, taip pat ir teisės aktų reikalavimais, todėl sistema yra skatinanti pokyčius</a:t>
            </a:r>
            <a:endParaRPr lang="en-GB" sz="1200" dirty="0">
              <a:solidFill>
                <a:sysClr val="windowText" lastClr="000000"/>
              </a:solidFill>
            </a:endParaRPr>
          </a:p>
        </p:txBody>
      </p:sp>
    </p:spTree>
    <p:extLst>
      <p:ext uri="{BB962C8B-B14F-4D97-AF65-F5344CB8AC3E}">
        <p14:creationId xmlns:p14="http://schemas.microsoft.com/office/powerpoint/2010/main" val="19855778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F9DAE-868B-4622-98C1-EC77E56D0CE6}"/>
              </a:ext>
            </a:extLst>
          </p:cNvPr>
          <p:cNvSpPr>
            <a:spLocks noGrp="1"/>
          </p:cNvSpPr>
          <p:nvPr>
            <p:ph type="title"/>
          </p:nvPr>
        </p:nvSpPr>
        <p:spPr>
          <a:xfrm>
            <a:off x="395536" y="260648"/>
            <a:ext cx="8353177" cy="497454"/>
          </a:xfrm>
        </p:spPr>
        <p:txBody>
          <a:bodyPr>
            <a:normAutofit/>
          </a:bodyPr>
          <a:lstStyle/>
          <a:p>
            <a:r>
              <a:rPr lang="lt-LT" dirty="0"/>
              <a:t>Pasiūlymai dėl Lietuvos aukštųjų mokyklų / pedagogų rengimo centrų vykdomų funkcijų plėtros</a:t>
            </a:r>
          </a:p>
        </p:txBody>
      </p:sp>
      <p:sp>
        <p:nvSpPr>
          <p:cNvPr id="30" name="Rectangle: Rounded Corners 29">
            <a:extLst>
              <a:ext uri="{FF2B5EF4-FFF2-40B4-BE49-F238E27FC236}">
                <a16:creationId xmlns:a16="http://schemas.microsoft.com/office/drawing/2014/main" id="{D6BB6ACC-DC1F-403E-9A5B-7841E2F6B2DD}"/>
              </a:ext>
            </a:extLst>
          </p:cNvPr>
          <p:cNvSpPr/>
          <p:nvPr/>
        </p:nvSpPr>
        <p:spPr>
          <a:xfrm>
            <a:off x="1041128" y="1909419"/>
            <a:ext cx="1677694" cy="886299"/>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grpSp>
        <p:nvGrpSpPr>
          <p:cNvPr id="14" name="Group 13">
            <a:extLst>
              <a:ext uri="{FF2B5EF4-FFF2-40B4-BE49-F238E27FC236}">
                <a16:creationId xmlns:a16="http://schemas.microsoft.com/office/drawing/2014/main" id="{7981442F-8281-4C7F-93AA-CCC062989890}"/>
              </a:ext>
            </a:extLst>
          </p:cNvPr>
          <p:cNvGrpSpPr/>
          <p:nvPr/>
        </p:nvGrpSpPr>
        <p:grpSpPr>
          <a:xfrm>
            <a:off x="395536" y="5430002"/>
            <a:ext cx="8353177" cy="925036"/>
            <a:chOff x="395536" y="1196194"/>
            <a:chExt cx="10600987" cy="1144768"/>
          </a:xfrm>
        </p:grpSpPr>
        <p:sp>
          <p:nvSpPr>
            <p:cNvPr id="6" name="Rectangle: Rounded Corners 5">
              <a:extLst>
                <a:ext uri="{FF2B5EF4-FFF2-40B4-BE49-F238E27FC236}">
                  <a16:creationId xmlns:a16="http://schemas.microsoft.com/office/drawing/2014/main" id="{4287DFDC-6891-4312-AB0D-DFDAB3A57D1B}"/>
                </a:ext>
              </a:extLst>
            </p:cNvPr>
            <p:cNvSpPr/>
            <p:nvPr/>
          </p:nvSpPr>
          <p:spPr>
            <a:xfrm>
              <a:off x="8867367" y="1284619"/>
              <a:ext cx="2129156" cy="100523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7" name="Rectangle 6">
              <a:extLst>
                <a:ext uri="{FF2B5EF4-FFF2-40B4-BE49-F238E27FC236}">
                  <a16:creationId xmlns:a16="http://schemas.microsoft.com/office/drawing/2014/main" id="{258B0589-7C30-4F31-A803-1F9D500F5931}"/>
                </a:ext>
              </a:extLst>
            </p:cNvPr>
            <p:cNvSpPr/>
            <p:nvPr/>
          </p:nvSpPr>
          <p:spPr>
            <a:xfrm>
              <a:off x="2565700" y="1284619"/>
              <a:ext cx="8078398" cy="8994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8" name="Freeform 586">
              <a:extLst>
                <a:ext uri="{FF2B5EF4-FFF2-40B4-BE49-F238E27FC236}">
                  <a16:creationId xmlns:a16="http://schemas.microsoft.com/office/drawing/2014/main" id="{2E9A204C-9403-42BE-9774-5BDCF004CA2D}"/>
                </a:ext>
              </a:extLst>
            </p:cNvPr>
            <p:cNvSpPr>
              <a:spLocks/>
            </p:cNvSpPr>
            <p:nvPr/>
          </p:nvSpPr>
          <p:spPr bwMode="auto">
            <a:xfrm>
              <a:off x="807949" y="1284619"/>
              <a:ext cx="3836718" cy="899447"/>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 name="Freeform 587">
              <a:extLst>
                <a:ext uri="{FF2B5EF4-FFF2-40B4-BE49-F238E27FC236}">
                  <a16:creationId xmlns:a16="http://schemas.microsoft.com/office/drawing/2014/main" id="{B94384C2-6507-4374-B83D-9E7BC89965BE}"/>
                </a:ext>
              </a:extLst>
            </p:cNvPr>
            <p:cNvSpPr>
              <a:spLocks/>
            </p:cNvSpPr>
            <p:nvPr/>
          </p:nvSpPr>
          <p:spPr bwMode="auto">
            <a:xfrm>
              <a:off x="606839" y="1422783"/>
              <a:ext cx="689438" cy="689438"/>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0" name="Rectangle 9">
              <a:extLst>
                <a:ext uri="{FF2B5EF4-FFF2-40B4-BE49-F238E27FC236}">
                  <a16:creationId xmlns:a16="http://schemas.microsoft.com/office/drawing/2014/main" id="{2767DE98-492D-4A5C-BA9A-3B60C964CA64}"/>
                </a:ext>
              </a:extLst>
            </p:cNvPr>
            <p:cNvSpPr/>
            <p:nvPr/>
          </p:nvSpPr>
          <p:spPr>
            <a:xfrm>
              <a:off x="973048" y="2114162"/>
              <a:ext cx="10023475" cy="22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11" name="Rectangle 10">
              <a:extLst>
                <a:ext uri="{FF2B5EF4-FFF2-40B4-BE49-F238E27FC236}">
                  <a16:creationId xmlns:a16="http://schemas.microsoft.com/office/drawing/2014/main" id="{FEE7C165-4F3D-4C73-942B-677331F0C203}"/>
                </a:ext>
              </a:extLst>
            </p:cNvPr>
            <p:cNvSpPr/>
            <p:nvPr/>
          </p:nvSpPr>
          <p:spPr>
            <a:xfrm>
              <a:off x="1663611" y="1315128"/>
              <a:ext cx="9158287" cy="7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algn="just"/>
              <a:r>
                <a:rPr lang="lt-LT" sz="1200">
                  <a:solidFill>
                    <a:schemeClr val="tx1"/>
                  </a:solidFill>
                </a:rPr>
                <a:t>Teisės aktų pokyčiai reikalingi tiek, kiek tai susiję su teikiamais pasiūlymais. </a:t>
              </a:r>
            </a:p>
          </p:txBody>
        </p:sp>
        <p:sp>
          <p:nvSpPr>
            <p:cNvPr id="12" name="Freeform 588">
              <a:extLst>
                <a:ext uri="{FF2B5EF4-FFF2-40B4-BE49-F238E27FC236}">
                  <a16:creationId xmlns:a16="http://schemas.microsoft.com/office/drawing/2014/main" id="{7D3477EB-F56F-4218-9334-C7BCC67720CB}"/>
                </a:ext>
              </a:extLst>
            </p:cNvPr>
            <p:cNvSpPr>
              <a:spLocks/>
            </p:cNvSpPr>
            <p:nvPr/>
          </p:nvSpPr>
          <p:spPr bwMode="auto">
            <a:xfrm>
              <a:off x="395536" y="1196194"/>
              <a:ext cx="1145378" cy="1143996"/>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pic>
        <p:nvPicPr>
          <p:cNvPr id="16" name="Graphic 15" descr="Scales of justice outline">
            <a:extLst>
              <a:ext uri="{FF2B5EF4-FFF2-40B4-BE49-F238E27FC236}">
                <a16:creationId xmlns:a16="http://schemas.microsoft.com/office/drawing/2014/main" id="{803E5D77-AC80-4A3B-9BE7-B66DC7C3B4D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555552" y="5553691"/>
            <a:ext cx="576064" cy="576064"/>
          </a:xfrm>
          <a:prstGeom prst="rect">
            <a:avLst/>
          </a:prstGeom>
        </p:spPr>
      </p:pic>
      <p:sp>
        <p:nvSpPr>
          <p:cNvPr id="18" name="Rectangle: Rounded Corners 17">
            <a:extLst>
              <a:ext uri="{FF2B5EF4-FFF2-40B4-BE49-F238E27FC236}">
                <a16:creationId xmlns:a16="http://schemas.microsoft.com/office/drawing/2014/main" id="{94BEF6FE-9992-423C-A70E-B8BB7E646F7C}"/>
              </a:ext>
            </a:extLst>
          </p:cNvPr>
          <p:cNvSpPr/>
          <p:nvPr/>
        </p:nvSpPr>
        <p:spPr>
          <a:xfrm>
            <a:off x="7070770" y="1917421"/>
            <a:ext cx="1677694" cy="87302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19" name="Rectangle 18">
            <a:extLst>
              <a:ext uri="{FF2B5EF4-FFF2-40B4-BE49-F238E27FC236}">
                <a16:creationId xmlns:a16="http://schemas.microsoft.com/office/drawing/2014/main" id="{A1FDC52B-1D29-46EB-8F69-97487A5F16D9}"/>
              </a:ext>
            </a:extLst>
          </p:cNvPr>
          <p:cNvSpPr/>
          <p:nvPr/>
        </p:nvSpPr>
        <p:spPr>
          <a:xfrm>
            <a:off x="2105294" y="1917420"/>
            <a:ext cx="6365472" cy="8406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21" name="Freeform 587">
            <a:extLst>
              <a:ext uri="{FF2B5EF4-FFF2-40B4-BE49-F238E27FC236}">
                <a16:creationId xmlns:a16="http://schemas.microsoft.com/office/drawing/2014/main" id="{FECF99FC-30AA-42A5-ADB8-736A8D88C1E3}"/>
              </a:ext>
            </a:extLst>
          </p:cNvPr>
          <p:cNvSpPr>
            <a:spLocks/>
          </p:cNvSpPr>
          <p:nvPr/>
        </p:nvSpPr>
        <p:spPr bwMode="auto">
          <a:xfrm>
            <a:off x="561786" y="2029064"/>
            <a:ext cx="543251" cy="557104"/>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2" name="Rectangle 21">
            <a:extLst>
              <a:ext uri="{FF2B5EF4-FFF2-40B4-BE49-F238E27FC236}">
                <a16:creationId xmlns:a16="http://schemas.microsoft.com/office/drawing/2014/main" id="{79BAFC15-4BE7-4B49-BA4B-DEDF5D34E0D1}"/>
              </a:ext>
            </a:extLst>
          </p:cNvPr>
          <p:cNvSpPr/>
          <p:nvPr/>
        </p:nvSpPr>
        <p:spPr>
          <a:xfrm>
            <a:off x="850345" y="2734041"/>
            <a:ext cx="7898119" cy="1832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23" name="Rectangle 22">
            <a:extLst>
              <a:ext uri="{FF2B5EF4-FFF2-40B4-BE49-F238E27FC236}">
                <a16:creationId xmlns:a16="http://schemas.microsoft.com/office/drawing/2014/main" id="{C23886BE-77F2-4437-A158-ACFB04904D0B}"/>
              </a:ext>
            </a:extLst>
          </p:cNvPr>
          <p:cNvSpPr/>
          <p:nvPr/>
        </p:nvSpPr>
        <p:spPr>
          <a:xfrm>
            <a:off x="1372820" y="1909419"/>
            <a:ext cx="7211375" cy="8226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algn="just"/>
            <a:r>
              <a:rPr lang="lt-LT" sz="1200" dirty="0">
                <a:solidFill>
                  <a:schemeClr val="tx1"/>
                </a:solidFill>
              </a:rPr>
              <a:t>Siekiant stiprinti aukštųjų mokyklų / pedagogų rengimo centrų vaidmenį PKT sistemoje, </a:t>
            </a:r>
            <a:r>
              <a:rPr lang="lt-LT" sz="1200" b="1" dirty="0">
                <a:solidFill>
                  <a:schemeClr val="tx1"/>
                </a:solidFill>
              </a:rPr>
              <a:t>atliekant nacionalinių PKT poreikių vertinimą, į procesą tikslinga įtraukti aukštųjų mokyklų / pedagogų rengimo centrų atstovus</a:t>
            </a:r>
            <a:r>
              <a:rPr lang="lt-LT" sz="1200" dirty="0">
                <a:solidFill>
                  <a:schemeClr val="tx1"/>
                </a:solidFill>
              </a:rPr>
              <a:t>, kurių pagrindinis vaidmuo – rengti pedagogus. Aukštosios mokyklos / pedagogų rengimo centrai taip pat kuria inovacijas ir vykdo jų sklaidą, o tai yra svarbu vertinant nacionalinius PKT poreikius.</a:t>
            </a:r>
          </a:p>
        </p:txBody>
      </p:sp>
      <p:sp>
        <p:nvSpPr>
          <p:cNvPr id="24" name="Freeform 588">
            <a:extLst>
              <a:ext uri="{FF2B5EF4-FFF2-40B4-BE49-F238E27FC236}">
                <a16:creationId xmlns:a16="http://schemas.microsoft.com/office/drawing/2014/main" id="{09DE74AB-D45A-4FEC-AFA5-0195549FD51D}"/>
              </a:ext>
            </a:extLst>
          </p:cNvPr>
          <p:cNvSpPr>
            <a:spLocks/>
          </p:cNvSpPr>
          <p:nvPr/>
        </p:nvSpPr>
        <p:spPr bwMode="auto">
          <a:xfrm>
            <a:off x="395287" y="1992272"/>
            <a:ext cx="902515" cy="924412"/>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6" name="Rectangle 25">
            <a:extLst>
              <a:ext uri="{FF2B5EF4-FFF2-40B4-BE49-F238E27FC236}">
                <a16:creationId xmlns:a16="http://schemas.microsoft.com/office/drawing/2014/main" id="{250FFFFE-E5B1-42C2-B530-4AFAEE885293}"/>
              </a:ext>
            </a:extLst>
          </p:cNvPr>
          <p:cNvSpPr/>
          <p:nvPr/>
        </p:nvSpPr>
        <p:spPr>
          <a:xfrm>
            <a:off x="1225109" y="6170202"/>
            <a:ext cx="1368000" cy="1832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a:t>REGLAMENTAVIMAS</a:t>
            </a:r>
          </a:p>
        </p:txBody>
      </p:sp>
      <p:sp>
        <p:nvSpPr>
          <p:cNvPr id="27" name="Rectangle 26">
            <a:extLst>
              <a:ext uri="{FF2B5EF4-FFF2-40B4-BE49-F238E27FC236}">
                <a16:creationId xmlns:a16="http://schemas.microsoft.com/office/drawing/2014/main" id="{3DC704CE-9F82-4A2C-A7F3-013906D42620}"/>
              </a:ext>
            </a:extLst>
          </p:cNvPr>
          <p:cNvSpPr/>
          <p:nvPr/>
        </p:nvSpPr>
        <p:spPr>
          <a:xfrm>
            <a:off x="1225109" y="2727984"/>
            <a:ext cx="1692000" cy="1832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a:t>PKT POREIKI</a:t>
            </a:r>
            <a:r>
              <a:rPr lang="lt-LT" sz="1050" b="1"/>
              <a:t>Ų VERTINIMAS</a:t>
            </a:r>
            <a:endParaRPr lang="en-GB" sz="1050" b="1"/>
          </a:p>
        </p:txBody>
      </p:sp>
      <p:pic>
        <p:nvPicPr>
          <p:cNvPr id="29" name="Graphic 28" descr="Clipboard Checked outline">
            <a:extLst>
              <a:ext uri="{FF2B5EF4-FFF2-40B4-BE49-F238E27FC236}">
                <a16:creationId xmlns:a16="http://schemas.microsoft.com/office/drawing/2014/main" id="{4A0B8E8A-6C0D-4ADB-9078-1384E6F9F8B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486767" y="2028060"/>
            <a:ext cx="745232" cy="745232"/>
          </a:xfrm>
          <a:prstGeom prst="rect">
            <a:avLst/>
          </a:prstGeom>
        </p:spPr>
      </p:pic>
      <p:grpSp>
        <p:nvGrpSpPr>
          <p:cNvPr id="31" name="Group 30">
            <a:extLst>
              <a:ext uri="{FF2B5EF4-FFF2-40B4-BE49-F238E27FC236}">
                <a16:creationId xmlns:a16="http://schemas.microsoft.com/office/drawing/2014/main" id="{B75CDC15-3B64-492D-AB46-A14C3558B811}"/>
              </a:ext>
            </a:extLst>
          </p:cNvPr>
          <p:cNvGrpSpPr/>
          <p:nvPr/>
        </p:nvGrpSpPr>
        <p:grpSpPr>
          <a:xfrm>
            <a:off x="395536" y="3110890"/>
            <a:ext cx="8353177" cy="925036"/>
            <a:chOff x="395536" y="1185519"/>
            <a:chExt cx="10600987" cy="1144768"/>
          </a:xfrm>
        </p:grpSpPr>
        <p:sp>
          <p:nvSpPr>
            <p:cNvPr id="32" name="Rectangle: Rounded Corners 31">
              <a:extLst>
                <a:ext uri="{FF2B5EF4-FFF2-40B4-BE49-F238E27FC236}">
                  <a16:creationId xmlns:a16="http://schemas.microsoft.com/office/drawing/2014/main" id="{C7079C07-1E13-4310-B39A-1A9171C209D7}"/>
                </a:ext>
              </a:extLst>
            </p:cNvPr>
            <p:cNvSpPr/>
            <p:nvPr/>
          </p:nvSpPr>
          <p:spPr>
            <a:xfrm>
              <a:off x="8867367" y="1284619"/>
              <a:ext cx="2129156" cy="100523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33" name="Rectangle 32">
              <a:extLst>
                <a:ext uri="{FF2B5EF4-FFF2-40B4-BE49-F238E27FC236}">
                  <a16:creationId xmlns:a16="http://schemas.microsoft.com/office/drawing/2014/main" id="{DCA3890C-83EE-4E6D-AB92-811226B28FCA}"/>
                </a:ext>
              </a:extLst>
            </p:cNvPr>
            <p:cNvSpPr/>
            <p:nvPr/>
          </p:nvSpPr>
          <p:spPr>
            <a:xfrm>
              <a:off x="2565700" y="1284619"/>
              <a:ext cx="8078398" cy="8994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34" name="Freeform 586">
              <a:extLst>
                <a:ext uri="{FF2B5EF4-FFF2-40B4-BE49-F238E27FC236}">
                  <a16:creationId xmlns:a16="http://schemas.microsoft.com/office/drawing/2014/main" id="{CD9D92C9-0793-4A40-BD0F-115A0C11D0EA}"/>
                </a:ext>
              </a:extLst>
            </p:cNvPr>
            <p:cNvSpPr>
              <a:spLocks/>
            </p:cNvSpPr>
            <p:nvPr/>
          </p:nvSpPr>
          <p:spPr bwMode="auto">
            <a:xfrm>
              <a:off x="807949" y="1284619"/>
              <a:ext cx="3836718" cy="899447"/>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5" name="Freeform 587">
              <a:extLst>
                <a:ext uri="{FF2B5EF4-FFF2-40B4-BE49-F238E27FC236}">
                  <a16:creationId xmlns:a16="http://schemas.microsoft.com/office/drawing/2014/main" id="{9E18BDFF-233E-45A2-B90E-920A519CD4EA}"/>
                </a:ext>
              </a:extLst>
            </p:cNvPr>
            <p:cNvSpPr>
              <a:spLocks/>
            </p:cNvSpPr>
            <p:nvPr/>
          </p:nvSpPr>
          <p:spPr bwMode="auto">
            <a:xfrm>
              <a:off x="606839" y="1422783"/>
              <a:ext cx="689438" cy="689438"/>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6" name="Rectangle 35">
              <a:extLst>
                <a:ext uri="{FF2B5EF4-FFF2-40B4-BE49-F238E27FC236}">
                  <a16:creationId xmlns:a16="http://schemas.microsoft.com/office/drawing/2014/main" id="{AC1A09E0-0581-48E4-AE75-CE9F642D65D2}"/>
                </a:ext>
              </a:extLst>
            </p:cNvPr>
            <p:cNvSpPr/>
            <p:nvPr/>
          </p:nvSpPr>
          <p:spPr>
            <a:xfrm>
              <a:off x="973048" y="2103487"/>
              <a:ext cx="10023475" cy="22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37" name="Rectangle 36">
              <a:extLst>
                <a:ext uri="{FF2B5EF4-FFF2-40B4-BE49-F238E27FC236}">
                  <a16:creationId xmlns:a16="http://schemas.microsoft.com/office/drawing/2014/main" id="{62009ECB-E68D-40D2-8713-92868BB4EB8F}"/>
                </a:ext>
              </a:extLst>
            </p:cNvPr>
            <p:cNvSpPr/>
            <p:nvPr/>
          </p:nvSpPr>
          <p:spPr>
            <a:xfrm>
              <a:off x="1663611" y="1315128"/>
              <a:ext cx="9158287" cy="7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algn="just"/>
              <a:r>
                <a:rPr lang="lt-LT" sz="1200">
                  <a:solidFill>
                    <a:schemeClr val="tx1"/>
                  </a:solidFill>
                </a:rPr>
                <a:t>Numatyti, kad </a:t>
              </a:r>
              <a:r>
                <a:rPr lang="lt-LT" sz="1200" b="1">
                  <a:solidFill>
                    <a:schemeClr val="tx1"/>
                  </a:solidFill>
                </a:rPr>
                <a:t>tik aukštosios mokyklos / pedagogų rengimo centrai galėtų vykdyti nacionalines PKT programas  </a:t>
              </a:r>
              <a:r>
                <a:rPr lang="lt-LT" sz="1200">
                  <a:solidFill>
                    <a:schemeClr val="tx1"/>
                  </a:solidFill>
                </a:rPr>
                <a:t>arba šias programas galėtų vykdyti </a:t>
              </a:r>
              <a:r>
                <a:rPr lang="lt-LT" sz="1200" b="1">
                  <a:solidFill>
                    <a:schemeClr val="tx1"/>
                  </a:solidFill>
                </a:rPr>
                <a:t>ir kiti PKT teikėjai, tačiau privalėtų bendradarbiauti </a:t>
              </a:r>
              <a:r>
                <a:rPr lang="lt-LT" sz="1200">
                  <a:solidFill>
                    <a:schemeClr val="tx1"/>
                  </a:solidFill>
                </a:rPr>
                <a:t>su aukštosiomis mokyklomis / pedagogų rengimo centrais.</a:t>
              </a:r>
            </a:p>
          </p:txBody>
        </p:sp>
        <p:sp>
          <p:nvSpPr>
            <p:cNvPr id="38" name="Freeform 588">
              <a:extLst>
                <a:ext uri="{FF2B5EF4-FFF2-40B4-BE49-F238E27FC236}">
                  <a16:creationId xmlns:a16="http://schemas.microsoft.com/office/drawing/2014/main" id="{D7A9968B-AFF2-47A9-8F2A-C454AE4056E4}"/>
                </a:ext>
              </a:extLst>
            </p:cNvPr>
            <p:cNvSpPr>
              <a:spLocks/>
            </p:cNvSpPr>
            <p:nvPr/>
          </p:nvSpPr>
          <p:spPr bwMode="auto">
            <a:xfrm>
              <a:off x="395536" y="1185519"/>
              <a:ext cx="1145379" cy="1143996"/>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pic>
        <p:nvPicPr>
          <p:cNvPr id="39" name="Picture 38" descr="Shape&#10;&#10;Description automatically generated with low confidence">
            <a:extLst>
              <a:ext uri="{FF2B5EF4-FFF2-40B4-BE49-F238E27FC236}">
                <a16:creationId xmlns:a16="http://schemas.microsoft.com/office/drawing/2014/main" id="{AA01C22D-A0E5-41DF-A87E-A8BA362CFB2C}"/>
              </a:ext>
            </a:extLst>
          </p:cNvPr>
          <p:cNvPicPr>
            <a:picLocks noChangeAspect="1"/>
          </p:cNvPicPr>
          <p:nvPr/>
        </p:nvPicPr>
        <p:blipFill>
          <a:blip r:embed="rId7" cstate="print">
            <a:duotone>
              <a:schemeClr val="accent5">
                <a:shade val="45000"/>
                <a:satMod val="135000"/>
              </a:schemeClr>
              <a:prstClr val="white"/>
            </a:duotone>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547588" y="3267401"/>
            <a:ext cx="605513" cy="605513"/>
          </a:xfrm>
          <a:prstGeom prst="rect">
            <a:avLst/>
          </a:prstGeom>
        </p:spPr>
      </p:pic>
      <p:sp>
        <p:nvSpPr>
          <p:cNvPr id="40" name="Rectangle 39">
            <a:extLst>
              <a:ext uri="{FF2B5EF4-FFF2-40B4-BE49-F238E27FC236}">
                <a16:creationId xmlns:a16="http://schemas.microsoft.com/office/drawing/2014/main" id="{80E4F083-B88A-477B-B5EF-14CA133C26D8}"/>
              </a:ext>
            </a:extLst>
          </p:cNvPr>
          <p:cNvSpPr/>
          <p:nvPr/>
        </p:nvSpPr>
        <p:spPr>
          <a:xfrm>
            <a:off x="1000478" y="3852659"/>
            <a:ext cx="2266771" cy="1832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050" b="1"/>
              <a:t>PKT PROGRAMŲ VYKDYMAS</a:t>
            </a:r>
            <a:endParaRPr lang="en-GB" sz="1050" b="1"/>
          </a:p>
        </p:txBody>
      </p:sp>
      <p:grpSp>
        <p:nvGrpSpPr>
          <p:cNvPr id="41" name="Group 40">
            <a:extLst>
              <a:ext uri="{FF2B5EF4-FFF2-40B4-BE49-F238E27FC236}">
                <a16:creationId xmlns:a16="http://schemas.microsoft.com/office/drawing/2014/main" id="{20181833-5D52-45B1-82E7-4B36A9354283}"/>
              </a:ext>
            </a:extLst>
          </p:cNvPr>
          <p:cNvGrpSpPr/>
          <p:nvPr/>
        </p:nvGrpSpPr>
        <p:grpSpPr>
          <a:xfrm>
            <a:off x="395536" y="4271020"/>
            <a:ext cx="8353177" cy="925036"/>
            <a:chOff x="395536" y="1185519"/>
            <a:chExt cx="10600987" cy="1144768"/>
          </a:xfrm>
        </p:grpSpPr>
        <p:sp>
          <p:nvSpPr>
            <p:cNvPr id="42" name="Rectangle: Rounded Corners 41">
              <a:extLst>
                <a:ext uri="{FF2B5EF4-FFF2-40B4-BE49-F238E27FC236}">
                  <a16:creationId xmlns:a16="http://schemas.microsoft.com/office/drawing/2014/main" id="{2AF1AF56-1E81-4BD4-8309-6ABAB6D160CA}"/>
                </a:ext>
              </a:extLst>
            </p:cNvPr>
            <p:cNvSpPr/>
            <p:nvPr/>
          </p:nvSpPr>
          <p:spPr>
            <a:xfrm>
              <a:off x="8867367" y="1284619"/>
              <a:ext cx="2129156" cy="100523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43" name="Rectangle 42">
              <a:extLst>
                <a:ext uri="{FF2B5EF4-FFF2-40B4-BE49-F238E27FC236}">
                  <a16:creationId xmlns:a16="http://schemas.microsoft.com/office/drawing/2014/main" id="{FBCD7DBD-1B76-4B6D-B5B6-7F4F92ED6754}"/>
                </a:ext>
              </a:extLst>
            </p:cNvPr>
            <p:cNvSpPr/>
            <p:nvPr/>
          </p:nvSpPr>
          <p:spPr>
            <a:xfrm>
              <a:off x="2565700" y="1284619"/>
              <a:ext cx="8078398" cy="8994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44" name="Freeform 586">
              <a:extLst>
                <a:ext uri="{FF2B5EF4-FFF2-40B4-BE49-F238E27FC236}">
                  <a16:creationId xmlns:a16="http://schemas.microsoft.com/office/drawing/2014/main" id="{7413FAAA-2328-4095-BA29-7DDD56F770C1}"/>
                </a:ext>
              </a:extLst>
            </p:cNvPr>
            <p:cNvSpPr>
              <a:spLocks/>
            </p:cNvSpPr>
            <p:nvPr/>
          </p:nvSpPr>
          <p:spPr bwMode="auto">
            <a:xfrm>
              <a:off x="807949" y="1284619"/>
              <a:ext cx="3836718" cy="899447"/>
            </a:xfrm>
            <a:custGeom>
              <a:avLst/>
              <a:gdLst>
                <a:gd name="T0" fmla="*/ 0 w 11294"/>
                <a:gd name="T1" fmla="*/ 0 h 2604"/>
                <a:gd name="T2" fmla="*/ 86 w 11294"/>
                <a:gd name="T3" fmla="*/ 56 h 2604"/>
                <a:gd name="T4" fmla="*/ 244 w 11294"/>
                <a:gd name="T5" fmla="*/ 187 h 2604"/>
                <a:gd name="T6" fmla="*/ 385 w 11294"/>
                <a:gd name="T7" fmla="*/ 336 h 2604"/>
                <a:gd name="T8" fmla="*/ 509 w 11294"/>
                <a:gd name="T9" fmla="*/ 500 h 2604"/>
                <a:gd name="T10" fmla="*/ 585 w 11294"/>
                <a:gd name="T11" fmla="*/ 634 h 2604"/>
                <a:gd name="T12" fmla="*/ 630 w 11294"/>
                <a:gd name="T13" fmla="*/ 727 h 2604"/>
                <a:gd name="T14" fmla="*/ 671 w 11294"/>
                <a:gd name="T15" fmla="*/ 824 h 2604"/>
                <a:gd name="T16" fmla="*/ 703 w 11294"/>
                <a:gd name="T17" fmla="*/ 923 h 2604"/>
                <a:gd name="T18" fmla="*/ 730 w 11294"/>
                <a:gd name="T19" fmla="*/ 1025 h 2604"/>
                <a:gd name="T20" fmla="*/ 751 w 11294"/>
                <a:gd name="T21" fmla="*/ 1130 h 2604"/>
                <a:gd name="T22" fmla="*/ 765 w 11294"/>
                <a:gd name="T23" fmla="*/ 1236 h 2604"/>
                <a:gd name="T24" fmla="*/ 772 w 11294"/>
                <a:gd name="T25" fmla="*/ 1345 h 2604"/>
                <a:gd name="T26" fmla="*/ 773 w 11294"/>
                <a:gd name="T27" fmla="*/ 1401 h 2604"/>
                <a:gd name="T28" fmla="*/ 773 w 11294"/>
                <a:gd name="T29" fmla="*/ 1407 h 2604"/>
                <a:gd name="T30" fmla="*/ 773 w 11294"/>
                <a:gd name="T31" fmla="*/ 1414 h 2604"/>
                <a:gd name="T32" fmla="*/ 774 w 11294"/>
                <a:gd name="T33" fmla="*/ 1466 h 2604"/>
                <a:gd name="T34" fmla="*/ 786 w 11294"/>
                <a:gd name="T35" fmla="*/ 1564 h 2604"/>
                <a:gd name="T36" fmla="*/ 807 w 11294"/>
                <a:gd name="T37" fmla="*/ 1660 h 2604"/>
                <a:gd name="T38" fmla="*/ 836 w 11294"/>
                <a:gd name="T39" fmla="*/ 1754 h 2604"/>
                <a:gd name="T40" fmla="*/ 874 w 11294"/>
                <a:gd name="T41" fmla="*/ 1842 h 2604"/>
                <a:gd name="T42" fmla="*/ 921 w 11294"/>
                <a:gd name="T43" fmla="*/ 1925 h 2604"/>
                <a:gd name="T44" fmla="*/ 975 w 11294"/>
                <a:gd name="T45" fmla="*/ 2004 h 2604"/>
                <a:gd name="T46" fmla="*/ 1036 w 11294"/>
                <a:gd name="T47" fmla="*/ 2076 h 2604"/>
                <a:gd name="T48" fmla="*/ 1103 w 11294"/>
                <a:gd name="T49" fmla="*/ 2144 h 2604"/>
                <a:gd name="T50" fmla="*/ 1177 w 11294"/>
                <a:gd name="T51" fmla="*/ 2203 h 2604"/>
                <a:gd name="T52" fmla="*/ 1256 w 11294"/>
                <a:gd name="T53" fmla="*/ 2256 h 2604"/>
                <a:gd name="T54" fmla="*/ 1341 w 11294"/>
                <a:gd name="T55" fmla="*/ 2302 h 2604"/>
                <a:gd name="T56" fmla="*/ 1429 w 11294"/>
                <a:gd name="T57" fmla="*/ 2338 h 2604"/>
                <a:gd name="T58" fmla="*/ 1522 w 11294"/>
                <a:gd name="T59" fmla="*/ 2368 h 2604"/>
                <a:gd name="T60" fmla="*/ 1619 w 11294"/>
                <a:gd name="T61" fmla="*/ 2387 h 2604"/>
                <a:gd name="T62" fmla="*/ 1719 w 11294"/>
                <a:gd name="T63" fmla="*/ 2396 h 2604"/>
                <a:gd name="T64" fmla="*/ 1770 w 11294"/>
                <a:gd name="T65" fmla="*/ 2398 h 2604"/>
                <a:gd name="T66" fmla="*/ 1770 w 11294"/>
                <a:gd name="T67" fmla="*/ 2604 h 2604"/>
                <a:gd name="T68" fmla="*/ 11294 w 11294"/>
                <a:gd name="T69" fmla="*/ 2604 h 2604"/>
                <a:gd name="T70" fmla="*/ 11294 w 11294"/>
                <a:gd name="T71" fmla="*/ 543 h 2604"/>
                <a:gd name="T72" fmla="*/ 11292 w 11294"/>
                <a:gd name="T73" fmla="*/ 487 h 2604"/>
                <a:gd name="T74" fmla="*/ 11270 w 11294"/>
                <a:gd name="T75" fmla="*/ 381 h 2604"/>
                <a:gd name="T76" fmla="*/ 11229 w 11294"/>
                <a:gd name="T77" fmla="*/ 284 h 2604"/>
                <a:gd name="T78" fmla="*/ 11170 w 11294"/>
                <a:gd name="T79" fmla="*/ 197 h 2604"/>
                <a:gd name="T80" fmla="*/ 11097 w 11294"/>
                <a:gd name="T81" fmla="*/ 123 h 2604"/>
                <a:gd name="T82" fmla="*/ 11010 w 11294"/>
                <a:gd name="T83" fmla="*/ 65 h 2604"/>
                <a:gd name="T84" fmla="*/ 10913 w 11294"/>
                <a:gd name="T85" fmla="*/ 23 h 2604"/>
                <a:gd name="T86" fmla="*/ 10806 w 11294"/>
                <a:gd name="T87" fmla="*/ 1 h 2604"/>
                <a:gd name="T88" fmla="*/ 10751 w 11294"/>
                <a:gd name="T89" fmla="*/ 0 h 2604"/>
                <a:gd name="T90" fmla="*/ 0 w 11294"/>
                <a:gd name="T91" fmla="*/ 0 h 2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94" h="2604">
                  <a:moveTo>
                    <a:pt x="0" y="0"/>
                  </a:moveTo>
                  <a:lnTo>
                    <a:pt x="86" y="56"/>
                  </a:lnTo>
                  <a:lnTo>
                    <a:pt x="244" y="187"/>
                  </a:lnTo>
                  <a:lnTo>
                    <a:pt x="385" y="336"/>
                  </a:lnTo>
                  <a:lnTo>
                    <a:pt x="509" y="500"/>
                  </a:lnTo>
                  <a:lnTo>
                    <a:pt x="585" y="634"/>
                  </a:lnTo>
                  <a:lnTo>
                    <a:pt x="630" y="727"/>
                  </a:lnTo>
                  <a:lnTo>
                    <a:pt x="671" y="824"/>
                  </a:lnTo>
                  <a:lnTo>
                    <a:pt x="703" y="923"/>
                  </a:lnTo>
                  <a:lnTo>
                    <a:pt x="730" y="1025"/>
                  </a:lnTo>
                  <a:lnTo>
                    <a:pt x="751" y="1130"/>
                  </a:lnTo>
                  <a:lnTo>
                    <a:pt x="765" y="1236"/>
                  </a:lnTo>
                  <a:lnTo>
                    <a:pt x="772" y="1345"/>
                  </a:lnTo>
                  <a:lnTo>
                    <a:pt x="773" y="1401"/>
                  </a:lnTo>
                  <a:lnTo>
                    <a:pt x="773" y="1407"/>
                  </a:lnTo>
                  <a:lnTo>
                    <a:pt x="773" y="1414"/>
                  </a:lnTo>
                  <a:lnTo>
                    <a:pt x="774" y="1466"/>
                  </a:lnTo>
                  <a:lnTo>
                    <a:pt x="786" y="1564"/>
                  </a:lnTo>
                  <a:lnTo>
                    <a:pt x="807" y="1660"/>
                  </a:lnTo>
                  <a:lnTo>
                    <a:pt x="836" y="1754"/>
                  </a:lnTo>
                  <a:lnTo>
                    <a:pt x="874" y="1842"/>
                  </a:lnTo>
                  <a:lnTo>
                    <a:pt x="921" y="1925"/>
                  </a:lnTo>
                  <a:lnTo>
                    <a:pt x="975" y="2004"/>
                  </a:lnTo>
                  <a:lnTo>
                    <a:pt x="1036" y="2076"/>
                  </a:lnTo>
                  <a:lnTo>
                    <a:pt x="1103" y="2144"/>
                  </a:lnTo>
                  <a:lnTo>
                    <a:pt x="1177" y="2203"/>
                  </a:lnTo>
                  <a:lnTo>
                    <a:pt x="1256" y="2256"/>
                  </a:lnTo>
                  <a:lnTo>
                    <a:pt x="1341" y="2302"/>
                  </a:lnTo>
                  <a:lnTo>
                    <a:pt x="1429" y="2338"/>
                  </a:lnTo>
                  <a:lnTo>
                    <a:pt x="1522" y="2368"/>
                  </a:lnTo>
                  <a:lnTo>
                    <a:pt x="1619" y="2387"/>
                  </a:lnTo>
                  <a:lnTo>
                    <a:pt x="1719" y="2396"/>
                  </a:lnTo>
                  <a:lnTo>
                    <a:pt x="1770" y="2398"/>
                  </a:lnTo>
                  <a:lnTo>
                    <a:pt x="1770" y="2604"/>
                  </a:lnTo>
                  <a:lnTo>
                    <a:pt x="11294" y="2604"/>
                  </a:lnTo>
                  <a:lnTo>
                    <a:pt x="11294" y="543"/>
                  </a:lnTo>
                  <a:lnTo>
                    <a:pt x="11292" y="487"/>
                  </a:lnTo>
                  <a:lnTo>
                    <a:pt x="11270" y="381"/>
                  </a:lnTo>
                  <a:lnTo>
                    <a:pt x="11229" y="284"/>
                  </a:lnTo>
                  <a:lnTo>
                    <a:pt x="11170" y="197"/>
                  </a:lnTo>
                  <a:lnTo>
                    <a:pt x="11097" y="123"/>
                  </a:lnTo>
                  <a:lnTo>
                    <a:pt x="11010" y="65"/>
                  </a:lnTo>
                  <a:lnTo>
                    <a:pt x="10913" y="23"/>
                  </a:lnTo>
                  <a:lnTo>
                    <a:pt x="10806" y="1"/>
                  </a:lnTo>
                  <a:lnTo>
                    <a:pt x="10751" y="0"/>
                  </a:lnTo>
                  <a:lnTo>
                    <a:pt x="0"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5" name="Freeform 587">
              <a:extLst>
                <a:ext uri="{FF2B5EF4-FFF2-40B4-BE49-F238E27FC236}">
                  <a16:creationId xmlns:a16="http://schemas.microsoft.com/office/drawing/2014/main" id="{040F4603-D21A-44BD-9161-354F094CEE32}"/>
                </a:ext>
              </a:extLst>
            </p:cNvPr>
            <p:cNvSpPr>
              <a:spLocks/>
            </p:cNvSpPr>
            <p:nvPr/>
          </p:nvSpPr>
          <p:spPr bwMode="auto">
            <a:xfrm>
              <a:off x="606839" y="1422783"/>
              <a:ext cx="689438" cy="689438"/>
            </a:xfrm>
            <a:custGeom>
              <a:avLst/>
              <a:gdLst>
                <a:gd name="T0" fmla="*/ 946 w 1995"/>
                <a:gd name="T1" fmla="*/ 1993 h 1995"/>
                <a:gd name="T2" fmla="*/ 748 w 1995"/>
                <a:gd name="T3" fmla="*/ 1964 h 1995"/>
                <a:gd name="T4" fmla="*/ 565 w 1995"/>
                <a:gd name="T5" fmla="*/ 1898 h 1995"/>
                <a:gd name="T6" fmla="*/ 401 w 1995"/>
                <a:gd name="T7" fmla="*/ 1798 h 1995"/>
                <a:gd name="T8" fmla="*/ 259 w 1995"/>
                <a:gd name="T9" fmla="*/ 1668 h 1995"/>
                <a:gd name="T10" fmla="*/ 145 w 1995"/>
                <a:gd name="T11" fmla="*/ 1515 h 1995"/>
                <a:gd name="T12" fmla="*/ 61 w 1995"/>
                <a:gd name="T13" fmla="*/ 1340 h 1995"/>
                <a:gd name="T14" fmla="*/ 12 w 1995"/>
                <a:gd name="T15" fmla="*/ 1150 h 1995"/>
                <a:gd name="T16" fmla="*/ 0 w 1995"/>
                <a:gd name="T17" fmla="*/ 998 h 1995"/>
                <a:gd name="T18" fmla="*/ 12 w 1995"/>
                <a:gd name="T19" fmla="*/ 846 h 1995"/>
                <a:gd name="T20" fmla="*/ 61 w 1995"/>
                <a:gd name="T21" fmla="*/ 655 h 1995"/>
                <a:gd name="T22" fmla="*/ 145 w 1995"/>
                <a:gd name="T23" fmla="*/ 481 h 1995"/>
                <a:gd name="T24" fmla="*/ 259 w 1995"/>
                <a:gd name="T25" fmla="*/ 327 h 1995"/>
                <a:gd name="T26" fmla="*/ 401 w 1995"/>
                <a:gd name="T27" fmla="*/ 198 h 1995"/>
                <a:gd name="T28" fmla="*/ 565 w 1995"/>
                <a:gd name="T29" fmla="*/ 98 h 1995"/>
                <a:gd name="T30" fmla="*/ 748 w 1995"/>
                <a:gd name="T31" fmla="*/ 31 h 1995"/>
                <a:gd name="T32" fmla="*/ 946 w 1995"/>
                <a:gd name="T33" fmla="*/ 1 h 1995"/>
                <a:gd name="T34" fmla="*/ 1049 w 1995"/>
                <a:gd name="T35" fmla="*/ 1 h 1995"/>
                <a:gd name="T36" fmla="*/ 1247 w 1995"/>
                <a:gd name="T37" fmla="*/ 31 h 1995"/>
                <a:gd name="T38" fmla="*/ 1431 w 1995"/>
                <a:gd name="T39" fmla="*/ 98 h 1995"/>
                <a:gd name="T40" fmla="*/ 1594 w 1995"/>
                <a:gd name="T41" fmla="*/ 198 h 1995"/>
                <a:gd name="T42" fmla="*/ 1737 w 1995"/>
                <a:gd name="T43" fmla="*/ 327 h 1995"/>
                <a:gd name="T44" fmla="*/ 1851 w 1995"/>
                <a:gd name="T45" fmla="*/ 481 h 1995"/>
                <a:gd name="T46" fmla="*/ 1935 w 1995"/>
                <a:gd name="T47" fmla="*/ 655 h 1995"/>
                <a:gd name="T48" fmla="*/ 1985 w 1995"/>
                <a:gd name="T49" fmla="*/ 846 h 1995"/>
                <a:gd name="T50" fmla="*/ 1995 w 1995"/>
                <a:gd name="T51" fmla="*/ 998 h 1995"/>
                <a:gd name="T52" fmla="*/ 1985 w 1995"/>
                <a:gd name="T53" fmla="*/ 1150 h 1995"/>
                <a:gd name="T54" fmla="*/ 1935 w 1995"/>
                <a:gd name="T55" fmla="*/ 1340 h 1995"/>
                <a:gd name="T56" fmla="*/ 1851 w 1995"/>
                <a:gd name="T57" fmla="*/ 1515 h 1995"/>
                <a:gd name="T58" fmla="*/ 1737 w 1995"/>
                <a:gd name="T59" fmla="*/ 1668 h 1995"/>
                <a:gd name="T60" fmla="*/ 1594 w 1995"/>
                <a:gd name="T61" fmla="*/ 1798 h 1995"/>
                <a:gd name="T62" fmla="*/ 1431 w 1995"/>
                <a:gd name="T63" fmla="*/ 1898 h 1995"/>
                <a:gd name="T64" fmla="*/ 1247 w 1995"/>
                <a:gd name="T65" fmla="*/ 1964 h 1995"/>
                <a:gd name="T66" fmla="*/ 1049 w 1995"/>
                <a:gd name="T67" fmla="*/ 1993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95" h="1995">
                  <a:moveTo>
                    <a:pt x="998" y="1995"/>
                  </a:moveTo>
                  <a:lnTo>
                    <a:pt x="946" y="1993"/>
                  </a:lnTo>
                  <a:lnTo>
                    <a:pt x="847" y="1984"/>
                  </a:lnTo>
                  <a:lnTo>
                    <a:pt x="748" y="1964"/>
                  </a:lnTo>
                  <a:lnTo>
                    <a:pt x="655" y="1935"/>
                  </a:lnTo>
                  <a:lnTo>
                    <a:pt x="565" y="1898"/>
                  </a:lnTo>
                  <a:lnTo>
                    <a:pt x="481" y="1851"/>
                  </a:lnTo>
                  <a:lnTo>
                    <a:pt x="401" y="1798"/>
                  </a:lnTo>
                  <a:lnTo>
                    <a:pt x="327" y="1735"/>
                  </a:lnTo>
                  <a:lnTo>
                    <a:pt x="259" y="1668"/>
                  </a:lnTo>
                  <a:lnTo>
                    <a:pt x="198" y="1594"/>
                  </a:lnTo>
                  <a:lnTo>
                    <a:pt x="145" y="1515"/>
                  </a:lnTo>
                  <a:lnTo>
                    <a:pt x="99" y="1430"/>
                  </a:lnTo>
                  <a:lnTo>
                    <a:pt x="61" y="1340"/>
                  </a:lnTo>
                  <a:lnTo>
                    <a:pt x="31" y="1247"/>
                  </a:lnTo>
                  <a:lnTo>
                    <a:pt x="12" y="1150"/>
                  </a:lnTo>
                  <a:lnTo>
                    <a:pt x="1" y="1049"/>
                  </a:lnTo>
                  <a:lnTo>
                    <a:pt x="0" y="998"/>
                  </a:lnTo>
                  <a:lnTo>
                    <a:pt x="1" y="946"/>
                  </a:lnTo>
                  <a:lnTo>
                    <a:pt x="12" y="846"/>
                  </a:lnTo>
                  <a:lnTo>
                    <a:pt x="31" y="748"/>
                  </a:lnTo>
                  <a:lnTo>
                    <a:pt x="61" y="655"/>
                  </a:lnTo>
                  <a:lnTo>
                    <a:pt x="99" y="565"/>
                  </a:lnTo>
                  <a:lnTo>
                    <a:pt x="145" y="481"/>
                  </a:lnTo>
                  <a:lnTo>
                    <a:pt x="198" y="400"/>
                  </a:lnTo>
                  <a:lnTo>
                    <a:pt x="259" y="327"/>
                  </a:lnTo>
                  <a:lnTo>
                    <a:pt x="327" y="259"/>
                  </a:lnTo>
                  <a:lnTo>
                    <a:pt x="401" y="198"/>
                  </a:lnTo>
                  <a:lnTo>
                    <a:pt x="481" y="145"/>
                  </a:lnTo>
                  <a:lnTo>
                    <a:pt x="565" y="98"/>
                  </a:lnTo>
                  <a:lnTo>
                    <a:pt x="655" y="61"/>
                  </a:lnTo>
                  <a:lnTo>
                    <a:pt x="748" y="31"/>
                  </a:lnTo>
                  <a:lnTo>
                    <a:pt x="847" y="12"/>
                  </a:lnTo>
                  <a:lnTo>
                    <a:pt x="946" y="1"/>
                  </a:lnTo>
                  <a:lnTo>
                    <a:pt x="998" y="0"/>
                  </a:lnTo>
                  <a:lnTo>
                    <a:pt x="1049" y="1"/>
                  </a:lnTo>
                  <a:lnTo>
                    <a:pt x="1150" y="12"/>
                  </a:lnTo>
                  <a:lnTo>
                    <a:pt x="1247" y="31"/>
                  </a:lnTo>
                  <a:lnTo>
                    <a:pt x="1340" y="61"/>
                  </a:lnTo>
                  <a:lnTo>
                    <a:pt x="1431" y="98"/>
                  </a:lnTo>
                  <a:lnTo>
                    <a:pt x="1515" y="145"/>
                  </a:lnTo>
                  <a:lnTo>
                    <a:pt x="1594" y="198"/>
                  </a:lnTo>
                  <a:lnTo>
                    <a:pt x="1668" y="259"/>
                  </a:lnTo>
                  <a:lnTo>
                    <a:pt x="1737" y="327"/>
                  </a:lnTo>
                  <a:lnTo>
                    <a:pt x="1798" y="400"/>
                  </a:lnTo>
                  <a:lnTo>
                    <a:pt x="1851" y="481"/>
                  </a:lnTo>
                  <a:lnTo>
                    <a:pt x="1898" y="565"/>
                  </a:lnTo>
                  <a:lnTo>
                    <a:pt x="1935" y="655"/>
                  </a:lnTo>
                  <a:lnTo>
                    <a:pt x="1964" y="748"/>
                  </a:lnTo>
                  <a:lnTo>
                    <a:pt x="1985" y="846"/>
                  </a:lnTo>
                  <a:lnTo>
                    <a:pt x="1995" y="946"/>
                  </a:lnTo>
                  <a:lnTo>
                    <a:pt x="1995" y="998"/>
                  </a:lnTo>
                  <a:lnTo>
                    <a:pt x="1995" y="1049"/>
                  </a:lnTo>
                  <a:lnTo>
                    <a:pt x="1985" y="1150"/>
                  </a:lnTo>
                  <a:lnTo>
                    <a:pt x="1964" y="1247"/>
                  </a:lnTo>
                  <a:lnTo>
                    <a:pt x="1935" y="1340"/>
                  </a:lnTo>
                  <a:lnTo>
                    <a:pt x="1898" y="1430"/>
                  </a:lnTo>
                  <a:lnTo>
                    <a:pt x="1851" y="1515"/>
                  </a:lnTo>
                  <a:lnTo>
                    <a:pt x="1798" y="1594"/>
                  </a:lnTo>
                  <a:lnTo>
                    <a:pt x="1737" y="1668"/>
                  </a:lnTo>
                  <a:lnTo>
                    <a:pt x="1668" y="1735"/>
                  </a:lnTo>
                  <a:lnTo>
                    <a:pt x="1594" y="1798"/>
                  </a:lnTo>
                  <a:lnTo>
                    <a:pt x="1515" y="1851"/>
                  </a:lnTo>
                  <a:lnTo>
                    <a:pt x="1431" y="1898"/>
                  </a:lnTo>
                  <a:lnTo>
                    <a:pt x="1340" y="1935"/>
                  </a:lnTo>
                  <a:lnTo>
                    <a:pt x="1247" y="1964"/>
                  </a:lnTo>
                  <a:lnTo>
                    <a:pt x="1150" y="1984"/>
                  </a:lnTo>
                  <a:lnTo>
                    <a:pt x="1049" y="1993"/>
                  </a:lnTo>
                  <a:lnTo>
                    <a:pt x="998" y="19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6" name="Rectangle 45">
              <a:extLst>
                <a:ext uri="{FF2B5EF4-FFF2-40B4-BE49-F238E27FC236}">
                  <a16:creationId xmlns:a16="http://schemas.microsoft.com/office/drawing/2014/main" id="{34101134-AB64-4992-A757-BACC1BE09FB7}"/>
                </a:ext>
              </a:extLst>
            </p:cNvPr>
            <p:cNvSpPr/>
            <p:nvPr/>
          </p:nvSpPr>
          <p:spPr>
            <a:xfrm>
              <a:off x="973048" y="2103487"/>
              <a:ext cx="10023475" cy="22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sp>
          <p:nvSpPr>
            <p:cNvPr id="47" name="Rectangle 46">
              <a:extLst>
                <a:ext uri="{FF2B5EF4-FFF2-40B4-BE49-F238E27FC236}">
                  <a16:creationId xmlns:a16="http://schemas.microsoft.com/office/drawing/2014/main" id="{AD55D9A5-249C-4CBF-8807-F3A22A0B9994}"/>
                </a:ext>
              </a:extLst>
            </p:cNvPr>
            <p:cNvSpPr/>
            <p:nvPr/>
          </p:nvSpPr>
          <p:spPr>
            <a:xfrm>
              <a:off x="1663611" y="1315128"/>
              <a:ext cx="9158287" cy="75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algn="just"/>
              <a:r>
                <a:rPr lang="lt-LT" sz="1200" b="1">
                  <a:solidFill>
                    <a:schemeClr val="tx1"/>
                  </a:solidFill>
                </a:rPr>
                <a:t>Įtraukti </a:t>
              </a:r>
              <a:r>
                <a:rPr lang="lt-LT" sz="1200">
                  <a:solidFill>
                    <a:schemeClr val="tx1"/>
                  </a:solidFill>
                </a:rPr>
                <a:t>aukštąsias mokyklas / pedagogų rengimo centrus </a:t>
              </a:r>
              <a:r>
                <a:rPr lang="lt-LT" sz="1200" b="1">
                  <a:solidFill>
                    <a:schemeClr val="tx1"/>
                  </a:solidFill>
                </a:rPr>
                <a:t>į PKT programų vertinimo ir akreditacijos procesą</a:t>
              </a:r>
              <a:r>
                <a:rPr lang="lt-LT" sz="1200">
                  <a:solidFill>
                    <a:schemeClr val="tx1"/>
                  </a:solidFill>
                </a:rPr>
                <a:t>. </a:t>
              </a:r>
            </a:p>
          </p:txBody>
        </p:sp>
        <p:sp>
          <p:nvSpPr>
            <p:cNvPr id="48" name="Freeform 588">
              <a:extLst>
                <a:ext uri="{FF2B5EF4-FFF2-40B4-BE49-F238E27FC236}">
                  <a16:creationId xmlns:a16="http://schemas.microsoft.com/office/drawing/2014/main" id="{DD89B6EB-201F-4CC9-984F-42B918553CE2}"/>
                </a:ext>
              </a:extLst>
            </p:cNvPr>
            <p:cNvSpPr>
              <a:spLocks/>
            </p:cNvSpPr>
            <p:nvPr/>
          </p:nvSpPr>
          <p:spPr bwMode="auto">
            <a:xfrm>
              <a:off x="395536" y="1185519"/>
              <a:ext cx="1145379" cy="1143996"/>
            </a:xfrm>
            <a:custGeom>
              <a:avLst/>
              <a:gdLst>
                <a:gd name="T0" fmla="*/ 1573 w 3316"/>
                <a:gd name="T1" fmla="*/ 2 h 3316"/>
                <a:gd name="T2" fmla="*/ 1243 w 3316"/>
                <a:gd name="T3" fmla="*/ 52 h 3316"/>
                <a:gd name="T4" fmla="*/ 939 w 3316"/>
                <a:gd name="T5" fmla="*/ 162 h 3316"/>
                <a:gd name="T6" fmla="*/ 665 w 3316"/>
                <a:gd name="T7" fmla="*/ 328 h 3316"/>
                <a:gd name="T8" fmla="*/ 431 w 3316"/>
                <a:gd name="T9" fmla="*/ 542 h 3316"/>
                <a:gd name="T10" fmla="*/ 240 w 3316"/>
                <a:gd name="T11" fmla="*/ 797 h 3316"/>
                <a:gd name="T12" fmla="*/ 100 w 3316"/>
                <a:gd name="T13" fmla="*/ 1088 h 3316"/>
                <a:gd name="T14" fmla="*/ 19 w 3316"/>
                <a:gd name="T15" fmla="*/ 1405 h 3316"/>
                <a:gd name="T16" fmla="*/ 0 w 3316"/>
                <a:gd name="T17" fmla="*/ 1658 h 3316"/>
                <a:gd name="T18" fmla="*/ 19 w 3316"/>
                <a:gd name="T19" fmla="*/ 1911 h 3316"/>
                <a:gd name="T20" fmla="*/ 100 w 3316"/>
                <a:gd name="T21" fmla="*/ 2228 h 3316"/>
                <a:gd name="T22" fmla="*/ 240 w 3316"/>
                <a:gd name="T23" fmla="*/ 2517 h 3316"/>
                <a:gd name="T24" fmla="*/ 431 w 3316"/>
                <a:gd name="T25" fmla="*/ 2773 h 3316"/>
                <a:gd name="T26" fmla="*/ 665 w 3316"/>
                <a:gd name="T27" fmla="*/ 2987 h 3316"/>
                <a:gd name="T28" fmla="*/ 939 w 3316"/>
                <a:gd name="T29" fmla="*/ 3152 h 3316"/>
                <a:gd name="T30" fmla="*/ 1243 w 3316"/>
                <a:gd name="T31" fmla="*/ 3264 h 3316"/>
                <a:gd name="T32" fmla="*/ 1573 w 3316"/>
                <a:gd name="T33" fmla="*/ 3314 h 3316"/>
                <a:gd name="T34" fmla="*/ 1744 w 3316"/>
                <a:gd name="T35" fmla="*/ 3314 h 3316"/>
                <a:gd name="T36" fmla="*/ 2073 w 3316"/>
                <a:gd name="T37" fmla="*/ 3264 h 3316"/>
                <a:gd name="T38" fmla="*/ 2378 w 3316"/>
                <a:gd name="T39" fmla="*/ 3152 h 3316"/>
                <a:gd name="T40" fmla="*/ 2650 w 3316"/>
                <a:gd name="T41" fmla="*/ 2987 h 3316"/>
                <a:gd name="T42" fmla="*/ 2886 w 3316"/>
                <a:gd name="T43" fmla="*/ 2773 h 3316"/>
                <a:gd name="T44" fmla="*/ 3076 w 3316"/>
                <a:gd name="T45" fmla="*/ 2517 h 3316"/>
                <a:gd name="T46" fmla="*/ 3216 w 3316"/>
                <a:gd name="T47" fmla="*/ 2228 h 3316"/>
                <a:gd name="T48" fmla="*/ 3298 w 3316"/>
                <a:gd name="T49" fmla="*/ 1911 h 3316"/>
                <a:gd name="T50" fmla="*/ 3316 w 3316"/>
                <a:gd name="T51" fmla="*/ 1658 h 3316"/>
                <a:gd name="T52" fmla="*/ 3298 w 3316"/>
                <a:gd name="T53" fmla="*/ 1405 h 3316"/>
                <a:gd name="T54" fmla="*/ 3216 w 3316"/>
                <a:gd name="T55" fmla="*/ 1088 h 3316"/>
                <a:gd name="T56" fmla="*/ 3076 w 3316"/>
                <a:gd name="T57" fmla="*/ 797 h 3316"/>
                <a:gd name="T58" fmla="*/ 2886 w 3316"/>
                <a:gd name="T59" fmla="*/ 542 h 3316"/>
                <a:gd name="T60" fmla="*/ 2650 w 3316"/>
                <a:gd name="T61" fmla="*/ 328 h 3316"/>
                <a:gd name="T62" fmla="*/ 2378 w 3316"/>
                <a:gd name="T63" fmla="*/ 162 h 3316"/>
                <a:gd name="T64" fmla="*/ 2073 w 3316"/>
                <a:gd name="T65" fmla="*/ 52 h 3316"/>
                <a:gd name="T66" fmla="*/ 1744 w 3316"/>
                <a:gd name="T67" fmla="*/ 2 h 3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16" h="3316">
                  <a:moveTo>
                    <a:pt x="1658" y="0"/>
                  </a:moveTo>
                  <a:lnTo>
                    <a:pt x="1573" y="2"/>
                  </a:lnTo>
                  <a:lnTo>
                    <a:pt x="1405" y="18"/>
                  </a:lnTo>
                  <a:lnTo>
                    <a:pt x="1243" y="52"/>
                  </a:lnTo>
                  <a:lnTo>
                    <a:pt x="1088" y="100"/>
                  </a:lnTo>
                  <a:lnTo>
                    <a:pt x="939" y="162"/>
                  </a:lnTo>
                  <a:lnTo>
                    <a:pt x="798" y="239"/>
                  </a:lnTo>
                  <a:lnTo>
                    <a:pt x="665" y="328"/>
                  </a:lnTo>
                  <a:lnTo>
                    <a:pt x="542" y="431"/>
                  </a:lnTo>
                  <a:lnTo>
                    <a:pt x="431" y="542"/>
                  </a:lnTo>
                  <a:lnTo>
                    <a:pt x="328" y="665"/>
                  </a:lnTo>
                  <a:lnTo>
                    <a:pt x="240" y="797"/>
                  </a:lnTo>
                  <a:lnTo>
                    <a:pt x="162" y="939"/>
                  </a:lnTo>
                  <a:lnTo>
                    <a:pt x="100" y="1088"/>
                  </a:lnTo>
                  <a:lnTo>
                    <a:pt x="52" y="1243"/>
                  </a:lnTo>
                  <a:lnTo>
                    <a:pt x="19" y="1405"/>
                  </a:lnTo>
                  <a:lnTo>
                    <a:pt x="2" y="1572"/>
                  </a:lnTo>
                  <a:lnTo>
                    <a:pt x="0" y="1658"/>
                  </a:lnTo>
                  <a:lnTo>
                    <a:pt x="2" y="1744"/>
                  </a:lnTo>
                  <a:lnTo>
                    <a:pt x="19" y="1911"/>
                  </a:lnTo>
                  <a:lnTo>
                    <a:pt x="52" y="2073"/>
                  </a:lnTo>
                  <a:lnTo>
                    <a:pt x="100" y="2228"/>
                  </a:lnTo>
                  <a:lnTo>
                    <a:pt x="162" y="2377"/>
                  </a:lnTo>
                  <a:lnTo>
                    <a:pt x="240" y="2517"/>
                  </a:lnTo>
                  <a:lnTo>
                    <a:pt x="328" y="2650"/>
                  </a:lnTo>
                  <a:lnTo>
                    <a:pt x="431" y="2773"/>
                  </a:lnTo>
                  <a:lnTo>
                    <a:pt x="542" y="2885"/>
                  </a:lnTo>
                  <a:lnTo>
                    <a:pt x="665" y="2987"/>
                  </a:lnTo>
                  <a:lnTo>
                    <a:pt x="798" y="3076"/>
                  </a:lnTo>
                  <a:lnTo>
                    <a:pt x="939" y="3152"/>
                  </a:lnTo>
                  <a:lnTo>
                    <a:pt x="1088" y="3216"/>
                  </a:lnTo>
                  <a:lnTo>
                    <a:pt x="1243" y="3264"/>
                  </a:lnTo>
                  <a:lnTo>
                    <a:pt x="1405" y="3298"/>
                  </a:lnTo>
                  <a:lnTo>
                    <a:pt x="1573" y="3314"/>
                  </a:lnTo>
                  <a:lnTo>
                    <a:pt x="1658" y="3316"/>
                  </a:lnTo>
                  <a:lnTo>
                    <a:pt x="1744" y="3314"/>
                  </a:lnTo>
                  <a:lnTo>
                    <a:pt x="1911" y="3298"/>
                  </a:lnTo>
                  <a:lnTo>
                    <a:pt x="2073" y="3264"/>
                  </a:lnTo>
                  <a:lnTo>
                    <a:pt x="2228" y="3216"/>
                  </a:lnTo>
                  <a:lnTo>
                    <a:pt x="2378" y="3152"/>
                  </a:lnTo>
                  <a:lnTo>
                    <a:pt x="2518" y="3076"/>
                  </a:lnTo>
                  <a:lnTo>
                    <a:pt x="2650" y="2987"/>
                  </a:lnTo>
                  <a:lnTo>
                    <a:pt x="2773" y="2885"/>
                  </a:lnTo>
                  <a:lnTo>
                    <a:pt x="2886" y="2773"/>
                  </a:lnTo>
                  <a:lnTo>
                    <a:pt x="2987" y="2650"/>
                  </a:lnTo>
                  <a:lnTo>
                    <a:pt x="3076" y="2517"/>
                  </a:lnTo>
                  <a:lnTo>
                    <a:pt x="3153" y="2377"/>
                  </a:lnTo>
                  <a:lnTo>
                    <a:pt x="3216" y="2228"/>
                  </a:lnTo>
                  <a:lnTo>
                    <a:pt x="3264" y="2073"/>
                  </a:lnTo>
                  <a:lnTo>
                    <a:pt x="3298" y="1911"/>
                  </a:lnTo>
                  <a:lnTo>
                    <a:pt x="3315" y="1744"/>
                  </a:lnTo>
                  <a:lnTo>
                    <a:pt x="3316" y="1658"/>
                  </a:lnTo>
                  <a:lnTo>
                    <a:pt x="3315" y="1572"/>
                  </a:lnTo>
                  <a:lnTo>
                    <a:pt x="3298" y="1405"/>
                  </a:lnTo>
                  <a:lnTo>
                    <a:pt x="3264" y="1243"/>
                  </a:lnTo>
                  <a:lnTo>
                    <a:pt x="3216" y="1088"/>
                  </a:lnTo>
                  <a:lnTo>
                    <a:pt x="3153" y="939"/>
                  </a:lnTo>
                  <a:lnTo>
                    <a:pt x="3076" y="797"/>
                  </a:lnTo>
                  <a:lnTo>
                    <a:pt x="2987" y="665"/>
                  </a:lnTo>
                  <a:lnTo>
                    <a:pt x="2886" y="542"/>
                  </a:lnTo>
                  <a:lnTo>
                    <a:pt x="2773" y="431"/>
                  </a:lnTo>
                  <a:lnTo>
                    <a:pt x="2650" y="328"/>
                  </a:lnTo>
                  <a:lnTo>
                    <a:pt x="2518" y="239"/>
                  </a:lnTo>
                  <a:lnTo>
                    <a:pt x="2378" y="162"/>
                  </a:lnTo>
                  <a:lnTo>
                    <a:pt x="2228" y="100"/>
                  </a:lnTo>
                  <a:lnTo>
                    <a:pt x="2073" y="52"/>
                  </a:lnTo>
                  <a:lnTo>
                    <a:pt x="1911" y="18"/>
                  </a:lnTo>
                  <a:lnTo>
                    <a:pt x="1744" y="2"/>
                  </a:lnTo>
                  <a:lnTo>
                    <a:pt x="1658" y="0"/>
                  </a:lnTo>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50" name="Rectangle 49">
            <a:extLst>
              <a:ext uri="{FF2B5EF4-FFF2-40B4-BE49-F238E27FC236}">
                <a16:creationId xmlns:a16="http://schemas.microsoft.com/office/drawing/2014/main" id="{1D19F7C9-B163-44ED-BBE7-CFF11E323847}"/>
              </a:ext>
            </a:extLst>
          </p:cNvPr>
          <p:cNvSpPr/>
          <p:nvPr/>
        </p:nvSpPr>
        <p:spPr>
          <a:xfrm>
            <a:off x="865069" y="5012789"/>
            <a:ext cx="2266771" cy="1832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050" b="1"/>
              <a:t>PKT PASLAUGŲ KOKYBĖ</a:t>
            </a:r>
            <a:endParaRPr lang="en-GB" sz="1050" b="1"/>
          </a:p>
        </p:txBody>
      </p:sp>
      <p:pic>
        <p:nvPicPr>
          <p:cNvPr id="52" name="Graphic 51" descr="Clipboard Badge outline">
            <a:extLst>
              <a:ext uri="{FF2B5EF4-FFF2-40B4-BE49-F238E27FC236}">
                <a16:creationId xmlns:a16="http://schemas.microsoft.com/office/drawing/2014/main" id="{5F70FDE1-AFF6-4A2B-8B03-5F5FA3F2710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478207" y="4349122"/>
            <a:ext cx="730753" cy="730753"/>
          </a:xfrm>
          <a:prstGeom prst="rect">
            <a:avLst/>
          </a:prstGeom>
        </p:spPr>
      </p:pic>
      <p:sp>
        <p:nvSpPr>
          <p:cNvPr id="53" name="Rectangle 52">
            <a:extLst>
              <a:ext uri="{FF2B5EF4-FFF2-40B4-BE49-F238E27FC236}">
                <a16:creationId xmlns:a16="http://schemas.microsoft.com/office/drawing/2014/main" id="{835D8355-C57F-4DA2-976E-2BA8C113AE98}"/>
              </a:ext>
            </a:extLst>
          </p:cNvPr>
          <p:cNvSpPr/>
          <p:nvPr/>
        </p:nvSpPr>
        <p:spPr>
          <a:xfrm>
            <a:off x="395537" y="1196752"/>
            <a:ext cx="8353176" cy="4974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050">
                <a:solidFill>
                  <a:schemeClr val="tx1"/>
                </a:solidFill>
              </a:rPr>
              <a:t>Siekiant sustiprinti aukštųjų mokyklų / pedagogų rengimo centrų vaidmenį PKT sistemoje, aukštosioms mokykloms / pedagogų rengimo centrams siūloma deleguoti toliau nurodytas funkcijas.</a:t>
            </a:r>
          </a:p>
        </p:txBody>
      </p:sp>
    </p:spTree>
    <p:extLst>
      <p:ext uri="{BB962C8B-B14F-4D97-AF65-F5344CB8AC3E}">
        <p14:creationId xmlns:p14="http://schemas.microsoft.com/office/powerpoint/2010/main" val="18874887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0CF06-F67F-46A1-A04D-A878CEED134A}"/>
              </a:ext>
            </a:extLst>
          </p:cNvPr>
          <p:cNvSpPr>
            <a:spLocks noGrp="1"/>
          </p:cNvSpPr>
          <p:nvPr>
            <p:ph type="title"/>
          </p:nvPr>
        </p:nvSpPr>
        <p:spPr/>
        <p:txBody>
          <a:bodyPr>
            <a:normAutofit/>
          </a:bodyPr>
          <a:lstStyle/>
          <a:p>
            <a:r>
              <a:rPr lang="lt-LT"/>
              <a:t>Rekomendacijos reglamentavimui ir finansavimui</a:t>
            </a:r>
            <a:endParaRPr lang="en-US"/>
          </a:p>
        </p:txBody>
      </p:sp>
      <p:sp>
        <p:nvSpPr>
          <p:cNvPr id="12" name="Shape">
            <a:extLst>
              <a:ext uri="{FF2B5EF4-FFF2-40B4-BE49-F238E27FC236}">
                <a16:creationId xmlns:a16="http://schemas.microsoft.com/office/drawing/2014/main" id="{2A476A9C-E995-480E-8E94-35DA286ECA22}"/>
              </a:ext>
            </a:extLst>
          </p:cNvPr>
          <p:cNvSpPr/>
          <p:nvPr/>
        </p:nvSpPr>
        <p:spPr>
          <a:xfrm>
            <a:off x="399233" y="3212976"/>
            <a:ext cx="2515689" cy="2880320"/>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bg1">
              <a:lumMod val="85000"/>
            </a:schemeClr>
          </a:solidFill>
          <a:ln w="12700">
            <a:noFill/>
            <a:miter lim="400000"/>
          </a:ln>
          <a:effectLst/>
        </p:spPr>
        <p:txBody>
          <a:bodyPr lIns="135000" tIns="135000" rIns="135000" bIns="135000" anchor="ctr"/>
          <a:lstStyle/>
          <a:p>
            <a:pPr algn="just">
              <a:defRPr sz="3000">
                <a:solidFill>
                  <a:srgbClr val="FFFFFF"/>
                </a:solidFill>
              </a:defRPr>
            </a:pPr>
            <a:r>
              <a:rPr lang="lt-LT" sz="1050" noProof="1">
                <a:solidFill>
                  <a:srgbClr val="000000"/>
                </a:solidFill>
              </a:rPr>
              <a:t>Neretai pedagogai teisę per metus ne mažiau kaip 5 dienas dalyvauti PKT renginiuose supranta kaip prievolę, kadangi tai yra būtina sąlyga atestuojantis aukštesnei ar norint pasitvirtinti turimą kvalifikacinę kategoriją. Siekiant didinti pedagogų motyvaciją dalyvauti PKT renginiuose, svarbu šį reglamentavimo aspektą plačiau komunikuoti įstaigoms ir pedagogams, pabrėžiant jų naudą. Būtina skatinti savarankišką norą tobulėti nesudarant baimės dėl galimų teisinių įpareigojimų dėl kompetencijų tobulinimo nevykdymo. </a:t>
            </a:r>
          </a:p>
        </p:txBody>
      </p:sp>
      <p:sp>
        <p:nvSpPr>
          <p:cNvPr id="18" name="Shape">
            <a:extLst>
              <a:ext uri="{FF2B5EF4-FFF2-40B4-BE49-F238E27FC236}">
                <a16:creationId xmlns:a16="http://schemas.microsoft.com/office/drawing/2014/main" id="{486AEF5D-30F6-4F3A-9A0F-56A8CF84CCF5}"/>
              </a:ext>
            </a:extLst>
          </p:cNvPr>
          <p:cNvSpPr/>
          <p:nvPr/>
        </p:nvSpPr>
        <p:spPr>
          <a:xfrm>
            <a:off x="410327" y="1484784"/>
            <a:ext cx="2500898" cy="864096"/>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accent2"/>
          </a:solidFill>
          <a:ln w="12700">
            <a:noFill/>
            <a:miter lim="400000"/>
          </a:ln>
          <a:effectLst/>
        </p:spPr>
        <p:txBody>
          <a:bodyPr lIns="135000" tIns="135000" rIns="135000" bIns="135000" anchor="ctr"/>
          <a:lstStyle/>
          <a:p>
            <a:pPr algn="ctr">
              <a:defRPr sz="3000">
                <a:solidFill>
                  <a:srgbClr val="FFFFFF"/>
                </a:solidFill>
              </a:defRPr>
            </a:pPr>
            <a:r>
              <a:rPr lang="lt-LT" sz="1050" noProof="1">
                <a:solidFill>
                  <a:schemeClr val="bg1"/>
                </a:solidFill>
              </a:rPr>
              <a:t>Siūloma vykdant komunikaciją apie dalyvavimą PKT veiklose labiau akcentuoti jų naudą pedagogams ir mokinių mokymosi pasiekimui gerinimui</a:t>
            </a:r>
          </a:p>
        </p:txBody>
      </p:sp>
      <p:sp>
        <p:nvSpPr>
          <p:cNvPr id="33" name="Shape">
            <a:extLst>
              <a:ext uri="{FF2B5EF4-FFF2-40B4-BE49-F238E27FC236}">
                <a16:creationId xmlns:a16="http://schemas.microsoft.com/office/drawing/2014/main" id="{CB6C5C18-549F-4AB1-ABC9-FEE125152494}"/>
              </a:ext>
            </a:extLst>
          </p:cNvPr>
          <p:cNvSpPr/>
          <p:nvPr/>
        </p:nvSpPr>
        <p:spPr>
          <a:xfrm>
            <a:off x="3314155" y="3212976"/>
            <a:ext cx="2515689" cy="2880320"/>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bg1">
              <a:lumMod val="85000"/>
            </a:schemeClr>
          </a:solidFill>
          <a:ln w="12700">
            <a:noFill/>
            <a:miter lim="400000"/>
          </a:ln>
          <a:effectLst/>
        </p:spPr>
        <p:txBody>
          <a:bodyPr lIns="135000" tIns="135000" rIns="135000" bIns="135000" anchor="ctr"/>
          <a:lstStyle/>
          <a:p>
            <a:pPr algn="just">
              <a:defRPr sz="3000">
                <a:solidFill>
                  <a:srgbClr val="FFFFFF"/>
                </a:solidFill>
              </a:defRPr>
            </a:pPr>
            <a:r>
              <a:rPr lang="lt-LT" sz="1050" noProof="1">
                <a:solidFill>
                  <a:srgbClr val="000000"/>
                </a:solidFill>
              </a:rPr>
              <a:t>Nustatyta, kad aukštosios mokyklos / pedagogų rengimo centrai į PKT mokymų kainodarą įtraukia užmokestį lektoriams, lėšas, skirtas darbuotojų išlaikymui, bei indėlį į universiteto biudžetą. Dėl to aukštosios mokyklos dažnu atveju pralaimi konkurencinę kovą su kitais paslaugų teikėjais, kadangi dėl tokios PKT sąmatos siūlo aukštesnes kainas PKT rinkoje. Atsižvelgiant į tai rekomenduojama šiems subjektams peržiūrėti PKT veiklų kainodarą ir jos sudarymą.</a:t>
            </a:r>
          </a:p>
        </p:txBody>
      </p:sp>
      <p:sp>
        <p:nvSpPr>
          <p:cNvPr id="37" name="Shape">
            <a:extLst>
              <a:ext uri="{FF2B5EF4-FFF2-40B4-BE49-F238E27FC236}">
                <a16:creationId xmlns:a16="http://schemas.microsoft.com/office/drawing/2014/main" id="{C74B8469-6B4D-40AE-9FF8-E931DEDE5EFF}"/>
              </a:ext>
            </a:extLst>
          </p:cNvPr>
          <p:cNvSpPr/>
          <p:nvPr/>
        </p:nvSpPr>
        <p:spPr>
          <a:xfrm>
            <a:off x="3321551" y="1484784"/>
            <a:ext cx="2500898" cy="864096"/>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accent2"/>
          </a:solidFill>
          <a:ln w="12700">
            <a:noFill/>
            <a:miter lim="400000"/>
          </a:ln>
          <a:effectLst/>
        </p:spPr>
        <p:txBody>
          <a:bodyPr lIns="135000" tIns="135000" rIns="135000" bIns="135000" anchor="ctr"/>
          <a:lstStyle/>
          <a:p>
            <a:pPr algn="ctr">
              <a:defRPr sz="3000">
                <a:solidFill>
                  <a:srgbClr val="FFFFFF"/>
                </a:solidFill>
              </a:defRPr>
            </a:pPr>
            <a:r>
              <a:rPr lang="lt-LT" sz="1050" noProof="1">
                <a:solidFill>
                  <a:schemeClr val="bg1"/>
                </a:solidFill>
              </a:rPr>
              <a:t>Siūloma aukštosioms mokykloms / pedagogų rengimo centrams peržiūrėti PKT veiklų kainodarą</a:t>
            </a:r>
          </a:p>
        </p:txBody>
      </p:sp>
      <p:sp>
        <p:nvSpPr>
          <p:cNvPr id="39" name="Shape">
            <a:extLst>
              <a:ext uri="{FF2B5EF4-FFF2-40B4-BE49-F238E27FC236}">
                <a16:creationId xmlns:a16="http://schemas.microsoft.com/office/drawing/2014/main" id="{E4B6382C-1478-43D6-921B-96F2A843BB7A}"/>
              </a:ext>
            </a:extLst>
          </p:cNvPr>
          <p:cNvSpPr/>
          <p:nvPr/>
        </p:nvSpPr>
        <p:spPr>
          <a:xfrm>
            <a:off x="6229077" y="3212976"/>
            <a:ext cx="2515689" cy="2880320"/>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bg1">
              <a:lumMod val="85000"/>
            </a:schemeClr>
          </a:solidFill>
          <a:ln w="12700">
            <a:noFill/>
            <a:miter lim="400000"/>
          </a:ln>
          <a:effectLst/>
        </p:spPr>
        <p:txBody>
          <a:bodyPr lIns="135000" tIns="135000" rIns="135000" bIns="135000" anchor="ctr"/>
          <a:lstStyle/>
          <a:p>
            <a:pPr algn="just">
              <a:defRPr sz="3000">
                <a:solidFill>
                  <a:srgbClr val="FFFFFF"/>
                </a:solidFill>
              </a:defRPr>
            </a:pPr>
            <a:r>
              <a:rPr lang="lt-LT" sz="1050" noProof="1">
                <a:solidFill>
                  <a:srgbClr val="000000"/>
                </a:solidFill>
              </a:rPr>
              <a:t>Siekiant skatinti nacionalinių, šalies prioritetus atitinkančių PKT programų paklausą tarp pedagogų, siūloma svarstyti galimybę nacionalinių PKT programų vykdymą tiesiogiai finansuoti valstybės lėšomis. </a:t>
            </a:r>
          </a:p>
        </p:txBody>
      </p:sp>
      <p:sp>
        <p:nvSpPr>
          <p:cNvPr id="43" name="Shape">
            <a:extLst>
              <a:ext uri="{FF2B5EF4-FFF2-40B4-BE49-F238E27FC236}">
                <a16:creationId xmlns:a16="http://schemas.microsoft.com/office/drawing/2014/main" id="{57F6E1ED-4727-40EC-8887-86E88EE89ECE}"/>
              </a:ext>
            </a:extLst>
          </p:cNvPr>
          <p:cNvSpPr/>
          <p:nvPr/>
        </p:nvSpPr>
        <p:spPr>
          <a:xfrm>
            <a:off x="6232775" y="1484784"/>
            <a:ext cx="2500898" cy="864096"/>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accent2"/>
          </a:solidFill>
          <a:ln w="12700">
            <a:noFill/>
            <a:miter lim="400000"/>
          </a:ln>
          <a:effectLst/>
        </p:spPr>
        <p:txBody>
          <a:bodyPr lIns="135000" tIns="135000" rIns="135000" bIns="135000" anchor="ctr"/>
          <a:lstStyle/>
          <a:p>
            <a:pPr algn="ctr">
              <a:defRPr sz="3000">
                <a:solidFill>
                  <a:srgbClr val="FFFFFF"/>
                </a:solidFill>
              </a:defRPr>
            </a:pPr>
            <a:r>
              <a:rPr lang="lt-LT" sz="1050" noProof="1">
                <a:solidFill>
                  <a:schemeClr val="bg1"/>
                </a:solidFill>
              </a:rPr>
              <a:t>Siūloma skirti valstybinį finansavimą nacionalinių PKT programų vykdymui</a:t>
            </a:r>
            <a:endParaRPr lang="pt-BR" sz="1050" noProof="1">
              <a:solidFill>
                <a:schemeClr val="bg1"/>
              </a:solidFill>
            </a:endParaRPr>
          </a:p>
        </p:txBody>
      </p:sp>
      <p:grpSp>
        <p:nvGrpSpPr>
          <p:cNvPr id="13" name="Group 12">
            <a:extLst>
              <a:ext uri="{FF2B5EF4-FFF2-40B4-BE49-F238E27FC236}">
                <a16:creationId xmlns:a16="http://schemas.microsoft.com/office/drawing/2014/main" id="{6FF6DCE5-6046-40BF-B824-72ECC9EF7F29}"/>
              </a:ext>
            </a:extLst>
          </p:cNvPr>
          <p:cNvGrpSpPr/>
          <p:nvPr/>
        </p:nvGrpSpPr>
        <p:grpSpPr>
          <a:xfrm>
            <a:off x="1017535" y="2266811"/>
            <a:ext cx="1279083" cy="1229828"/>
            <a:chOff x="776955" y="2821379"/>
            <a:chExt cx="1279083" cy="1229828"/>
          </a:xfrm>
          <a:effectLst/>
        </p:grpSpPr>
        <p:sp>
          <p:nvSpPr>
            <p:cNvPr id="14" name="Shape">
              <a:extLst>
                <a:ext uri="{FF2B5EF4-FFF2-40B4-BE49-F238E27FC236}">
                  <a16:creationId xmlns:a16="http://schemas.microsoft.com/office/drawing/2014/main" id="{E42A5B84-AE5C-4585-B8EF-E6B31FC6462E}"/>
                </a:ext>
              </a:extLst>
            </p:cNvPr>
            <p:cNvSpPr/>
            <p:nvPr/>
          </p:nvSpPr>
          <p:spPr>
            <a:xfrm>
              <a:off x="776955" y="2821379"/>
              <a:ext cx="1279083" cy="1229828"/>
            </a:xfrm>
            <a:custGeom>
              <a:avLst/>
              <a:gdLst/>
              <a:ahLst/>
              <a:cxnLst>
                <a:cxn ang="0">
                  <a:pos x="wd2" y="hd2"/>
                </a:cxn>
                <a:cxn ang="5400000">
                  <a:pos x="wd2" y="hd2"/>
                </a:cxn>
                <a:cxn ang="10800000">
                  <a:pos x="wd2" y="hd2"/>
                </a:cxn>
                <a:cxn ang="16200000">
                  <a:pos x="wd2" y="hd2"/>
                </a:cxn>
              </a:cxnLst>
              <a:rect l="0" t="0" r="r" b="b"/>
              <a:pathLst>
                <a:path w="20936" h="21600" extrusionOk="0">
                  <a:moveTo>
                    <a:pt x="11986" y="0"/>
                  </a:moveTo>
                  <a:lnTo>
                    <a:pt x="8950" y="0"/>
                  </a:lnTo>
                  <a:cubicBezTo>
                    <a:pt x="6296" y="0"/>
                    <a:pt x="3842" y="1521"/>
                    <a:pt x="2515" y="3988"/>
                  </a:cubicBezTo>
                  <a:lnTo>
                    <a:pt x="995" y="6812"/>
                  </a:lnTo>
                  <a:cubicBezTo>
                    <a:pt x="-332" y="9279"/>
                    <a:pt x="-332" y="12318"/>
                    <a:pt x="995" y="14788"/>
                  </a:cubicBezTo>
                  <a:lnTo>
                    <a:pt x="2515" y="17612"/>
                  </a:lnTo>
                  <a:cubicBezTo>
                    <a:pt x="3842" y="20079"/>
                    <a:pt x="6296" y="21600"/>
                    <a:pt x="8950" y="21600"/>
                  </a:cubicBezTo>
                  <a:lnTo>
                    <a:pt x="11986" y="21600"/>
                  </a:lnTo>
                  <a:cubicBezTo>
                    <a:pt x="14640" y="21600"/>
                    <a:pt x="17094" y="20079"/>
                    <a:pt x="18421" y="17612"/>
                  </a:cubicBezTo>
                  <a:lnTo>
                    <a:pt x="19941" y="14788"/>
                  </a:lnTo>
                  <a:cubicBezTo>
                    <a:pt x="21268" y="12321"/>
                    <a:pt x="21268" y="9282"/>
                    <a:pt x="19941" y="6812"/>
                  </a:cubicBezTo>
                  <a:lnTo>
                    <a:pt x="18421" y="3988"/>
                  </a:lnTo>
                  <a:cubicBezTo>
                    <a:pt x="17097" y="1521"/>
                    <a:pt x="14643" y="0"/>
                    <a:pt x="11986" y="0"/>
                  </a:cubicBezTo>
                  <a:close/>
                </a:path>
              </a:pathLst>
            </a:custGeom>
            <a:solidFill>
              <a:srgbClr val="F4F5F5"/>
            </a:solidFill>
            <a:ln w="12700">
              <a:solidFill>
                <a:schemeClr val="bg1">
                  <a:lumMod val="75000"/>
                  <a:alpha val="40000"/>
                </a:schemeClr>
              </a:solidFill>
              <a:miter lim="400000"/>
            </a:ln>
            <a:effectLst>
              <a:outerShdw blurRad="88900" dist="38100" dir="2400000" algn="l" rotWithShape="0">
                <a:prstClr val="black">
                  <a:alpha val="40000"/>
                </a:prstClr>
              </a:outerShdw>
            </a:effectLst>
          </p:spPr>
          <p:txBody>
            <a:bodyPr lIns="135000" tIns="135000" rIns="135000" bIns="135000" anchor="b"/>
            <a:lstStyle/>
            <a:p>
              <a:pPr algn="ctr"/>
              <a:endParaRPr sz="1000">
                <a:solidFill>
                  <a:schemeClr val="tx1">
                    <a:lumMod val="65000"/>
                    <a:lumOff val="35000"/>
                  </a:schemeClr>
                </a:solidFill>
              </a:endParaRPr>
            </a:p>
          </p:txBody>
        </p:sp>
        <p:sp>
          <p:nvSpPr>
            <p:cNvPr id="15" name="Shape">
              <a:extLst>
                <a:ext uri="{FF2B5EF4-FFF2-40B4-BE49-F238E27FC236}">
                  <a16:creationId xmlns:a16="http://schemas.microsoft.com/office/drawing/2014/main" id="{AA16E7A9-E674-486E-B1A1-25482019E52C}"/>
                </a:ext>
              </a:extLst>
            </p:cNvPr>
            <p:cNvSpPr/>
            <p:nvPr/>
          </p:nvSpPr>
          <p:spPr>
            <a:xfrm>
              <a:off x="883647" y="2910289"/>
              <a:ext cx="1065163" cy="1044536"/>
            </a:xfrm>
            <a:custGeom>
              <a:avLst/>
              <a:gdLst/>
              <a:ahLst/>
              <a:cxnLst>
                <a:cxn ang="0">
                  <a:pos x="wd2" y="hd2"/>
                </a:cxn>
                <a:cxn ang="5400000">
                  <a:pos x="wd2" y="hd2"/>
                </a:cxn>
                <a:cxn ang="10800000">
                  <a:pos x="wd2" y="hd2"/>
                </a:cxn>
                <a:cxn ang="16200000">
                  <a:pos x="wd2" y="hd2"/>
                </a:cxn>
              </a:cxnLst>
              <a:rect l="0" t="0" r="r" b="b"/>
              <a:pathLst>
                <a:path w="20808" h="21600" extrusionOk="0">
                  <a:moveTo>
                    <a:pt x="11172" y="0"/>
                  </a:moveTo>
                  <a:lnTo>
                    <a:pt x="9636" y="0"/>
                  </a:lnTo>
                  <a:cubicBezTo>
                    <a:pt x="6468" y="0"/>
                    <a:pt x="3540" y="1791"/>
                    <a:pt x="1956" y="4696"/>
                  </a:cubicBezTo>
                  <a:lnTo>
                    <a:pt x="1188" y="6104"/>
                  </a:lnTo>
                  <a:cubicBezTo>
                    <a:pt x="-396" y="9009"/>
                    <a:pt x="-396" y="12587"/>
                    <a:pt x="1188" y="15496"/>
                  </a:cubicBezTo>
                  <a:lnTo>
                    <a:pt x="1956" y="16904"/>
                  </a:lnTo>
                  <a:cubicBezTo>
                    <a:pt x="3540" y="19809"/>
                    <a:pt x="6468" y="21600"/>
                    <a:pt x="9636" y="21600"/>
                  </a:cubicBezTo>
                  <a:lnTo>
                    <a:pt x="11172" y="21600"/>
                  </a:lnTo>
                  <a:cubicBezTo>
                    <a:pt x="14340" y="21600"/>
                    <a:pt x="17268" y="19809"/>
                    <a:pt x="18852" y="16904"/>
                  </a:cubicBezTo>
                  <a:lnTo>
                    <a:pt x="19620" y="15496"/>
                  </a:lnTo>
                  <a:cubicBezTo>
                    <a:pt x="21204" y="12591"/>
                    <a:pt x="21204" y="9013"/>
                    <a:pt x="19620" y="6104"/>
                  </a:cubicBezTo>
                  <a:lnTo>
                    <a:pt x="18852" y="4696"/>
                  </a:lnTo>
                  <a:cubicBezTo>
                    <a:pt x="17268" y="1791"/>
                    <a:pt x="14340" y="0"/>
                    <a:pt x="11172" y="0"/>
                  </a:cubicBezTo>
                  <a:close/>
                </a:path>
              </a:pathLst>
            </a:custGeom>
            <a:solidFill>
              <a:schemeClr val="accent4"/>
            </a:solidFill>
            <a:ln w="12700">
              <a:miter lim="400000"/>
            </a:ln>
          </p:spPr>
          <p:txBody>
            <a:bodyPr lIns="28575" tIns="28575" rIns="28575" bIns="28575" anchor="ctr"/>
            <a:lstStyle/>
            <a:p>
              <a:pPr algn="ctr">
                <a:defRPr sz="3000">
                  <a:solidFill>
                    <a:srgbClr val="FFFFFF"/>
                  </a:solidFill>
                </a:defRPr>
              </a:pPr>
              <a:r>
                <a:rPr lang="lt-LT" sz="2400" b="1"/>
                <a:t>1</a:t>
              </a:r>
              <a:endParaRPr sz="2400" b="1"/>
            </a:p>
          </p:txBody>
        </p:sp>
      </p:grpSp>
      <p:grpSp>
        <p:nvGrpSpPr>
          <p:cNvPr id="34" name="Group 33">
            <a:extLst>
              <a:ext uri="{FF2B5EF4-FFF2-40B4-BE49-F238E27FC236}">
                <a16:creationId xmlns:a16="http://schemas.microsoft.com/office/drawing/2014/main" id="{D609BA43-417E-4757-B706-DD3ACEFBF4BE}"/>
              </a:ext>
            </a:extLst>
          </p:cNvPr>
          <p:cNvGrpSpPr/>
          <p:nvPr/>
        </p:nvGrpSpPr>
        <p:grpSpPr>
          <a:xfrm>
            <a:off x="3932459" y="2271180"/>
            <a:ext cx="1279083" cy="1229828"/>
            <a:chOff x="776955" y="2821379"/>
            <a:chExt cx="1279083" cy="1229828"/>
          </a:xfrm>
          <a:effectLst/>
        </p:grpSpPr>
        <p:sp>
          <p:nvSpPr>
            <p:cNvPr id="35" name="Shape">
              <a:extLst>
                <a:ext uri="{FF2B5EF4-FFF2-40B4-BE49-F238E27FC236}">
                  <a16:creationId xmlns:a16="http://schemas.microsoft.com/office/drawing/2014/main" id="{EFCB7BC9-EA83-4CF3-BB53-2F09B9A88BED}"/>
                </a:ext>
              </a:extLst>
            </p:cNvPr>
            <p:cNvSpPr/>
            <p:nvPr/>
          </p:nvSpPr>
          <p:spPr>
            <a:xfrm>
              <a:off x="776955" y="2821379"/>
              <a:ext cx="1279083" cy="1229828"/>
            </a:xfrm>
            <a:custGeom>
              <a:avLst/>
              <a:gdLst/>
              <a:ahLst/>
              <a:cxnLst>
                <a:cxn ang="0">
                  <a:pos x="wd2" y="hd2"/>
                </a:cxn>
                <a:cxn ang="5400000">
                  <a:pos x="wd2" y="hd2"/>
                </a:cxn>
                <a:cxn ang="10800000">
                  <a:pos x="wd2" y="hd2"/>
                </a:cxn>
                <a:cxn ang="16200000">
                  <a:pos x="wd2" y="hd2"/>
                </a:cxn>
              </a:cxnLst>
              <a:rect l="0" t="0" r="r" b="b"/>
              <a:pathLst>
                <a:path w="20936" h="21600" extrusionOk="0">
                  <a:moveTo>
                    <a:pt x="11986" y="0"/>
                  </a:moveTo>
                  <a:lnTo>
                    <a:pt x="8950" y="0"/>
                  </a:lnTo>
                  <a:cubicBezTo>
                    <a:pt x="6296" y="0"/>
                    <a:pt x="3842" y="1521"/>
                    <a:pt x="2515" y="3988"/>
                  </a:cubicBezTo>
                  <a:lnTo>
                    <a:pt x="995" y="6812"/>
                  </a:lnTo>
                  <a:cubicBezTo>
                    <a:pt x="-332" y="9279"/>
                    <a:pt x="-332" y="12318"/>
                    <a:pt x="995" y="14788"/>
                  </a:cubicBezTo>
                  <a:lnTo>
                    <a:pt x="2515" y="17612"/>
                  </a:lnTo>
                  <a:cubicBezTo>
                    <a:pt x="3842" y="20079"/>
                    <a:pt x="6296" y="21600"/>
                    <a:pt x="8950" y="21600"/>
                  </a:cubicBezTo>
                  <a:lnTo>
                    <a:pt x="11986" y="21600"/>
                  </a:lnTo>
                  <a:cubicBezTo>
                    <a:pt x="14640" y="21600"/>
                    <a:pt x="17094" y="20079"/>
                    <a:pt x="18421" y="17612"/>
                  </a:cubicBezTo>
                  <a:lnTo>
                    <a:pt x="19941" y="14788"/>
                  </a:lnTo>
                  <a:cubicBezTo>
                    <a:pt x="21268" y="12321"/>
                    <a:pt x="21268" y="9282"/>
                    <a:pt x="19941" y="6812"/>
                  </a:cubicBezTo>
                  <a:lnTo>
                    <a:pt x="18421" y="3988"/>
                  </a:lnTo>
                  <a:cubicBezTo>
                    <a:pt x="17097" y="1521"/>
                    <a:pt x="14643" y="0"/>
                    <a:pt x="11986" y="0"/>
                  </a:cubicBezTo>
                  <a:close/>
                </a:path>
              </a:pathLst>
            </a:custGeom>
            <a:solidFill>
              <a:srgbClr val="F4F5F5"/>
            </a:solidFill>
            <a:ln w="12700">
              <a:solidFill>
                <a:schemeClr val="bg1">
                  <a:lumMod val="75000"/>
                  <a:alpha val="40000"/>
                </a:schemeClr>
              </a:solidFill>
              <a:miter lim="400000"/>
            </a:ln>
            <a:effectLst>
              <a:outerShdw blurRad="88900" dist="38100" dir="2400000" algn="l" rotWithShape="0">
                <a:prstClr val="black">
                  <a:alpha val="40000"/>
                </a:prstClr>
              </a:outerShdw>
            </a:effectLst>
          </p:spPr>
          <p:txBody>
            <a:bodyPr lIns="135000" tIns="135000" rIns="135000" bIns="135000" anchor="b"/>
            <a:lstStyle/>
            <a:p>
              <a:pPr algn="ctr"/>
              <a:endParaRPr sz="1000">
                <a:solidFill>
                  <a:schemeClr val="tx1">
                    <a:lumMod val="65000"/>
                    <a:lumOff val="35000"/>
                  </a:schemeClr>
                </a:solidFill>
              </a:endParaRPr>
            </a:p>
          </p:txBody>
        </p:sp>
        <p:sp>
          <p:nvSpPr>
            <p:cNvPr id="36" name="Shape">
              <a:extLst>
                <a:ext uri="{FF2B5EF4-FFF2-40B4-BE49-F238E27FC236}">
                  <a16:creationId xmlns:a16="http://schemas.microsoft.com/office/drawing/2014/main" id="{E8D72F5E-511D-4DDA-8EB8-135528A20D5A}"/>
                </a:ext>
              </a:extLst>
            </p:cNvPr>
            <p:cNvSpPr/>
            <p:nvPr/>
          </p:nvSpPr>
          <p:spPr>
            <a:xfrm>
              <a:off x="883647" y="2910289"/>
              <a:ext cx="1065163" cy="1044536"/>
            </a:xfrm>
            <a:custGeom>
              <a:avLst/>
              <a:gdLst/>
              <a:ahLst/>
              <a:cxnLst>
                <a:cxn ang="0">
                  <a:pos x="wd2" y="hd2"/>
                </a:cxn>
                <a:cxn ang="5400000">
                  <a:pos x="wd2" y="hd2"/>
                </a:cxn>
                <a:cxn ang="10800000">
                  <a:pos x="wd2" y="hd2"/>
                </a:cxn>
                <a:cxn ang="16200000">
                  <a:pos x="wd2" y="hd2"/>
                </a:cxn>
              </a:cxnLst>
              <a:rect l="0" t="0" r="r" b="b"/>
              <a:pathLst>
                <a:path w="20808" h="21600" extrusionOk="0">
                  <a:moveTo>
                    <a:pt x="11172" y="0"/>
                  </a:moveTo>
                  <a:lnTo>
                    <a:pt x="9636" y="0"/>
                  </a:lnTo>
                  <a:cubicBezTo>
                    <a:pt x="6468" y="0"/>
                    <a:pt x="3540" y="1791"/>
                    <a:pt x="1956" y="4696"/>
                  </a:cubicBezTo>
                  <a:lnTo>
                    <a:pt x="1188" y="6104"/>
                  </a:lnTo>
                  <a:cubicBezTo>
                    <a:pt x="-396" y="9009"/>
                    <a:pt x="-396" y="12587"/>
                    <a:pt x="1188" y="15496"/>
                  </a:cubicBezTo>
                  <a:lnTo>
                    <a:pt x="1956" y="16904"/>
                  </a:lnTo>
                  <a:cubicBezTo>
                    <a:pt x="3540" y="19809"/>
                    <a:pt x="6468" y="21600"/>
                    <a:pt x="9636" y="21600"/>
                  </a:cubicBezTo>
                  <a:lnTo>
                    <a:pt x="11172" y="21600"/>
                  </a:lnTo>
                  <a:cubicBezTo>
                    <a:pt x="14340" y="21600"/>
                    <a:pt x="17268" y="19809"/>
                    <a:pt x="18852" y="16904"/>
                  </a:cubicBezTo>
                  <a:lnTo>
                    <a:pt x="19620" y="15496"/>
                  </a:lnTo>
                  <a:cubicBezTo>
                    <a:pt x="21204" y="12591"/>
                    <a:pt x="21204" y="9013"/>
                    <a:pt x="19620" y="6104"/>
                  </a:cubicBezTo>
                  <a:lnTo>
                    <a:pt x="18852" y="4696"/>
                  </a:lnTo>
                  <a:cubicBezTo>
                    <a:pt x="17268" y="1791"/>
                    <a:pt x="14340" y="0"/>
                    <a:pt x="11172" y="0"/>
                  </a:cubicBezTo>
                  <a:close/>
                </a:path>
              </a:pathLst>
            </a:custGeom>
            <a:solidFill>
              <a:schemeClr val="accent4"/>
            </a:solidFill>
            <a:ln w="12700">
              <a:miter lim="400000"/>
            </a:ln>
          </p:spPr>
          <p:txBody>
            <a:bodyPr lIns="28575" tIns="28575" rIns="28575" bIns="28575" anchor="ctr"/>
            <a:lstStyle/>
            <a:p>
              <a:pPr algn="ctr">
                <a:defRPr sz="3000">
                  <a:solidFill>
                    <a:srgbClr val="FFFFFF"/>
                  </a:solidFill>
                </a:defRPr>
              </a:pPr>
              <a:r>
                <a:rPr lang="lt-LT" sz="2400" b="1"/>
                <a:t>2</a:t>
              </a:r>
              <a:endParaRPr sz="2400" b="1"/>
            </a:p>
          </p:txBody>
        </p:sp>
      </p:grpSp>
      <p:grpSp>
        <p:nvGrpSpPr>
          <p:cNvPr id="40" name="Group 39">
            <a:extLst>
              <a:ext uri="{FF2B5EF4-FFF2-40B4-BE49-F238E27FC236}">
                <a16:creationId xmlns:a16="http://schemas.microsoft.com/office/drawing/2014/main" id="{6529504E-9565-42F1-A711-5404468FA1B7}"/>
              </a:ext>
            </a:extLst>
          </p:cNvPr>
          <p:cNvGrpSpPr/>
          <p:nvPr/>
        </p:nvGrpSpPr>
        <p:grpSpPr>
          <a:xfrm>
            <a:off x="6847382" y="2271180"/>
            <a:ext cx="1279083" cy="1229828"/>
            <a:chOff x="776955" y="2821379"/>
            <a:chExt cx="1279083" cy="1229828"/>
          </a:xfrm>
          <a:effectLst/>
        </p:grpSpPr>
        <p:sp>
          <p:nvSpPr>
            <p:cNvPr id="41" name="Shape">
              <a:extLst>
                <a:ext uri="{FF2B5EF4-FFF2-40B4-BE49-F238E27FC236}">
                  <a16:creationId xmlns:a16="http://schemas.microsoft.com/office/drawing/2014/main" id="{272A1043-51C8-4EF9-9294-F36E6DBA8520}"/>
                </a:ext>
              </a:extLst>
            </p:cNvPr>
            <p:cNvSpPr/>
            <p:nvPr/>
          </p:nvSpPr>
          <p:spPr>
            <a:xfrm>
              <a:off x="776955" y="2821379"/>
              <a:ext cx="1279083" cy="1229828"/>
            </a:xfrm>
            <a:custGeom>
              <a:avLst/>
              <a:gdLst/>
              <a:ahLst/>
              <a:cxnLst>
                <a:cxn ang="0">
                  <a:pos x="wd2" y="hd2"/>
                </a:cxn>
                <a:cxn ang="5400000">
                  <a:pos x="wd2" y="hd2"/>
                </a:cxn>
                <a:cxn ang="10800000">
                  <a:pos x="wd2" y="hd2"/>
                </a:cxn>
                <a:cxn ang="16200000">
                  <a:pos x="wd2" y="hd2"/>
                </a:cxn>
              </a:cxnLst>
              <a:rect l="0" t="0" r="r" b="b"/>
              <a:pathLst>
                <a:path w="20936" h="21600" extrusionOk="0">
                  <a:moveTo>
                    <a:pt x="11986" y="0"/>
                  </a:moveTo>
                  <a:lnTo>
                    <a:pt x="8950" y="0"/>
                  </a:lnTo>
                  <a:cubicBezTo>
                    <a:pt x="6296" y="0"/>
                    <a:pt x="3842" y="1521"/>
                    <a:pt x="2515" y="3988"/>
                  </a:cubicBezTo>
                  <a:lnTo>
                    <a:pt x="995" y="6812"/>
                  </a:lnTo>
                  <a:cubicBezTo>
                    <a:pt x="-332" y="9279"/>
                    <a:pt x="-332" y="12318"/>
                    <a:pt x="995" y="14788"/>
                  </a:cubicBezTo>
                  <a:lnTo>
                    <a:pt x="2515" y="17612"/>
                  </a:lnTo>
                  <a:cubicBezTo>
                    <a:pt x="3842" y="20079"/>
                    <a:pt x="6296" y="21600"/>
                    <a:pt x="8950" y="21600"/>
                  </a:cubicBezTo>
                  <a:lnTo>
                    <a:pt x="11986" y="21600"/>
                  </a:lnTo>
                  <a:cubicBezTo>
                    <a:pt x="14640" y="21600"/>
                    <a:pt x="17094" y="20079"/>
                    <a:pt x="18421" y="17612"/>
                  </a:cubicBezTo>
                  <a:lnTo>
                    <a:pt x="19941" y="14788"/>
                  </a:lnTo>
                  <a:cubicBezTo>
                    <a:pt x="21268" y="12321"/>
                    <a:pt x="21268" y="9282"/>
                    <a:pt x="19941" y="6812"/>
                  </a:cubicBezTo>
                  <a:lnTo>
                    <a:pt x="18421" y="3988"/>
                  </a:lnTo>
                  <a:cubicBezTo>
                    <a:pt x="17097" y="1521"/>
                    <a:pt x="14643" y="0"/>
                    <a:pt x="11986" y="0"/>
                  </a:cubicBezTo>
                  <a:close/>
                </a:path>
              </a:pathLst>
            </a:custGeom>
            <a:solidFill>
              <a:srgbClr val="F4F5F5"/>
            </a:solidFill>
            <a:ln w="12700">
              <a:solidFill>
                <a:schemeClr val="bg1">
                  <a:lumMod val="75000"/>
                  <a:alpha val="40000"/>
                </a:schemeClr>
              </a:solidFill>
              <a:miter lim="400000"/>
            </a:ln>
            <a:effectLst>
              <a:outerShdw blurRad="88900" dist="38100" dir="2400000" algn="l" rotWithShape="0">
                <a:prstClr val="black">
                  <a:alpha val="40000"/>
                </a:prstClr>
              </a:outerShdw>
            </a:effectLst>
          </p:spPr>
          <p:txBody>
            <a:bodyPr lIns="135000" tIns="135000" rIns="135000" bIns="135000" anchor="b"/>
            <a:lstStyle/>
            <a:p>
              <a:pPr algn="ctr"/>
              <a:endParaRPr sz="1000">
                <a:solidFill>
                  <a:schemeClr val="tx1">
                    <a:lumMod val="65000"/>
                    <a:lumOff val="35000"/>
                  </a:schemeClr>
                </a:solidFill>
              </a:endParaRPr>
            </a:p>
          </p:txBody>
        </p:sp>
        <p:sp>
          <p:nvSpPr>
            <p:cNvPr id="42" name="Shape">
              <a:extLst>
                <a:ext uri="{FF2B5EF4-FFF2-40B4-BE49-F238E27FC236}">
                  <a16:creationId xmlns:a16="http://schemas.microsoft.com/office/drawing/2014/main" id="{A5D66E96-27FF-415E-BD07-5E67DA89029C}"/>
                </a:ext>
              </a:extLst>
            </p:cNvPr>
            <p:cNvSpPr/>
            <p:nvPr/>
          </p:nvSpPr>
          <p:spPr>
            <a:xfrm>
              <a:off x="883647" y="2910289"/>
              <a:ext cx="1065163" cy="1044536"/>
            </a:xfrm>
            <a:custGeom>
              <a:avLst/>
              <a:gdLst/>
              <a:ahLst/>
              <a:cxnLst>
                <a:cxn ang="0">
                  <a:pos x="wd2" y="hd2"/>
                </a:cxn>
                <a:cxn ang="5400000">
                  <a:pos x="wd2" y="hd2"/>
                </a:cxn>
                <a:cxn ang="10800000">
                  <a:pos x="wd2" y="hd2"/>
                </a:cxn>
                <a:cxn ang="16200000">
                  <a:pos x="wd2" y="hd2"/>
                </a:cxn>
              </a:cxnLst>
              <a:rect l="0" t="0" r="r" b="b"/>
              <a:pathLst>
                <a:path w="20808" h="21600" extrusionOk="0">
                  <a:moveTo>
                    <a:pt x="11172" y="0"/>
                  </a:moveTo>
                  <a:lnTo>
                    <a:pt x="9636" y="0"/>
                  </a:lnTo>
                  <a:cubicBezTo>
                    <a:pt x="6468" y="0"/>
                    <a:pt x="3540" y="1791"/>
                    <a:pt x="1956" y="4696"/>
                  </a:cubicBezTo>
                  <a:lnTo>
                    <a:pt x="1188" y="6104"/>
                  </a:lnTo>
                  <a:cubicBezTo>
                    <a:pt x="-396" y="9009"/>
                    <a:pt x="-396" y="12587"/>
                    <a:pt x="1188" y="15496"/>
                  </a:cubicBezTo>
                  <a:lnTo>
                    <a:pt x="1956" y="16904"/>
                  </a:lnTo>
                  <a:cubicBezTo>
                    <a:pt x="3540" y="19809"/>
                    <a:pt x="6468" y="21600"/>
                    <a:pt x="9636" y="21600"/>
                  </a:cubicBezTo>
                  <a:lnTo>
                    <a:pt x="11172" y="21600"/>
                  </a:lnTo>
                  <a:cubicBezTo>
                    <a:pt x="14340" y="21600"/>
                    <a:pt x="17268" y="19809"/>
                    <a:pt x="18852" y="16904"/>
                  </a:cubicBezTo>
                  <a:lnTo>
                    <a:pt x="19620" y="15496"/>
                  </a:lnTo>
                  <a:cubicBezTo>
                    <a:pt x="21204" y="12591"/>
                    <a:pt x="21204" y="9013"/>
                    <a:pt x="19620" y="6104"/>
                  </a:cubicBezTo>
                  <a:lnTo>
                    <a:pt x="18852" y="4696"/>
                  </a:lnTo>
                  <a:cubicBezTo>
                    <a:pt x="17268" y="1791"/>
                    <a:pt x="14340" y="0"/>
                    <a:pt x="11172" y="0"/>
                  </a:cubicBezTo>
                  <a:close/>
                </a:path>
              </a:pathLst>
            </a:custGeom>
            <a:solidFill>
              <a:schemeClr val="accent4"/>
            </a:solidFill>
            <a:ln w="12700">
              <a:miter lim="400000"/>
            </a:ln>
          </p:spPr>
          <p:txBody>
            <a:bodyPr lIns="28575" tIns="28575" rIns="28575" bIns="28575" anchor="ctr"/>
            <a:lstStyle/>
            <a:p>
              <a:pPr algn="ctr">
                <a:defRPr sz="3000">
                  <a:solidFill>
                    <a:srgbClr val="FFFFFF"/>
                  </a:solidFill>
                </a:defRPr>
              </a:pPr>
              <a:r>
                <a:rPr lang="lt-LT" sz="2400" b="1"/>
                <a:t>3</a:t>
              </a:r>
              <a:endParaRPr sz="2400" b="1"/>
            </a:p>
          </p:txBody>
        </p:sp>
      </p:grpSp>
      <p:sp>
        <p:nvSpPr>
          <p:cNvPr id="21" name="Rectangle 20">
            <a:extLst>
              <a:ext uri="{FF2B5EF4-FFF2-40B4-BE49-F238E27FC236}">
                <a16:creationId xmlns:a16="http://schemas.microsoft.com/office/drawing/2014/main" id="{C83ABA70-935D-4BE8-BAC1-33868F26E4A7}"/>
              </a:ext>
            </a:extLst>
          </p:cNvPr>
          <p:cNvSpPr/>
          <p:nvPr/>
        </p:nvSpPr>
        <p:spPr>
          <a:xfrm>
            <a:off x="3321551" y="1083682"/>
            <a:ext cx="5412122" cy="2636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Finansavimas</a:t>
            </a:r>
          </a:p>
        </p:txBody>
      </p:sp>
      <p:sp>
        <p:nvSpPr>
          <p:cNvPr id="22" name="Rectangle 21">
            <a:extLst>
              <a:ext uri="{FF2B5EF4-FFF2-40B4-BE49-F238E27FC236}">
                <a16:creationId xmlns:a16="http://schemas.microsoft.com/office/drawing/2014/main" id="{E9D6F673-4AD2-43A8-BFC2-E3E5AD1A7776}"/>
              </a:ext>
            </a:extLst>
          </p:cNvPr>
          <p:cNvSpPr/>
          <p:nvPr/>
        </p:nvSpPr>
        <p:spPr>
          <a:xfrm>
            <a:off x="410327" y="1083682"/>
            <a:ext cx="2500898" cy="2636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Reglamentavimas</a:t>
            </a:r>
          </a:p>
        </p:txBody>
      </p:sp>
    </p:spTree>
    <p:extLst>
      <p:ext uri="{BB962C8B-B14F-4D97-AF65-F5344CB8AC3E}">
        <p14:creationId xmlns:p14="http://schemas.microsoft.com/office/powerpoint/2010/main" val="11097419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0CF06-F67F-46A1-A04D-A878CEED134A}"/>
              </a:ext>
            </a:extLst>
          </p:cNvPr>
          <p:cNvSpPr>
            <a:spLocks noGrp="1"/>
          </p:cNvSpPr>
          <p:nvPr>
            <p:ph type="title"/>
          </p:nvPr>
        </p:nvSpPr>
        <p:spPr/>
        <p:txBody>
          <a:bodyPr>
            <a:normAutofit/>
          </a:bodyPr>
          <a:lstStyle/>
          <a:p>
            <a:r>
              <a:rPr lang="lt-LT" dirty="0"/>
              <a:t>Rekomendacijos poreikių vertinimui </a:t>
            </a:r>
            <a:r>
              <a:rPr lang="en-GB" dirty="0"/>
              <a:t>(1 / 2)</a:t>
            </a:r>
            <a:endParaRPr lang="en-US" dirty="0"/>
          </a:p>
        </p:txBody>
      </p:sp>
      <p:sp>
        <p:nvSpPr>
          <p:cNvPr id="12" name="Shape">
            <a:extLst>
              <a:ext uri="{FF2B5EF4-FFF2-40B4-BE49-F238E27FC236}">
                <a16:creationId xmlns:a16="http://schemas.microsoft.com/office/drawing/2014/main" id="{2A476A9C-E995-480E-8E94-35DA286ECA22}"/>
              </a:ext>
            </a:extLst>
          </p:cNvPr>
          <p:cNvSpPr/>
          <p:nvPr/>
        </p:nvSpPr>
        <p:spPr>
          <a:xfrm>
            <a:off x="1862273" y="3212976"/>
            <a:ext cx="2515689" cy="2880320"/>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bg1">
              <a:lumMod val="85000"/>
            </a:schemeClr>
          </a:solidFill>
          <a:ln w="12700">
            <a:noFill/>
            <a:miter lim="400000"/>
          </a:ln>
          <a:effectLst/>
        </p:spPr>
        <p:txBody>
          <a:bodyPr lIns="135000" tIns="135000" rIns="135000" bIns="135000" anchor="ctr"/>
          <a:lstStyle/>
          <a:p>
            <a:pPr algn="just">
              <a:defRPr sz="3000">
                <a:solidFill>
                  <a:srgbClr val="FFFFFF"/>
                </a:solidFill>
              </a:defRPr>
            </a:pPr>
            <a:r>
              <a:rPr lang="lt-LT" sz="1050" noProof="1">
                <a:solidFill>
                  <a:srgbClr val="000000"/>
                </a:solidFill>
              </a:rPr>
              <a:t>Stiprinant aukštųjų mokyklų / pedagogų rengimo centrų vaidmenį PKT sistemoje, atliekant nacionalinių PKT poreikių vertinimą, į procesą tikslinga įtraukti šių įstaigų atstovus. Šios institucijos yra užmezgę stiprų partnerių tinklą, atlieka mokslinius tyrimus, seka PKT tendencijas, kuria inovacijas ir vykdo jų sklaidą, tad galėtų reikšmingai prisidėti nustatnat nacionalinius PKT poreikius. </a:t>
            </a:r>
          </a:p>
        </p:txBody>
      </p:sp>
      <p:sp>
        <p:nvSpPr>
          <p:cNvPr id="18" name="Shape">
            <a:extLst>
              <a:ext uri="{FF2B5EF4-FFF2-40B4-BE49-F238E27FC236}">
                <a16:creationId xmlns:a16="http://schemas.microsoft.com/office/drawing/2014/main" id="{486AEF5D-30F6-4F3A-9A0F-56A8CF84CCF5}"/>
              </a:ext>
            </a:extLst>
          </p:cNvPr>
          <p:cNvSpPr/>
          <p:nvPr/>
        </p:nvSpPr>
        <p:spPr>
          <a:xfrm>
            <a:off x="1873367" y="1304344"/>
            <a:ext cx="2500898" cy="1044536"/>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accent2"/>
          </a:solidFill>
          <a:ln w="12700">
            <a:noFill/>
            <a:miter lim="400000"/>
          </a:ln>
          <a:effectLst/>
        </p:spPr>
        <p:txBody>
          <a:bodyPr lIns="135000" tIns="135000" rIns="135000" bIns="135000" anchor="ctr"/>
          <a:lstStyle/>
          <a:p>
            <a:pPr algn="ctr">
              <a:defRPr sz="3000">
                <a:solidFill>
                  <a:srgbClr val="FFFFFF"/>
                </a:solidFill>
              </a:defRPr>
            </a:pPr>
            <a:r>
              <a:rPr lang="lt-LT" sz="1050" noProof="1">
                <a:solidFill>
                  <a:schemeClr val="bg1"/>
                </a:solidFill>
              </a:rPr>
              <a:t>Siūloma į nacionalinių PKT poreikių vertinimą įtraukti aukštąsias mokyklas / pedagogų rengimo centrus</a:t>
            </a:r>
          </a:p>
        </p:txBody>
      </p:sp>
      <p:sp>
        <p:nvSpPr>
          <p:cNvPr id="33" name="Shape">
            <a:extLst>
              <a:ext uri="{FF2B5EF4-FFF2-40B4-BE49-F238E27FC236}">
                <a16:creationId xmlns:a16="http://schemas.microsoft.com/office/drawing/2014/main" id="{CB6C5C18-549F-4AB1-ABC9-FEE125152494}"/>
              </a:ext>
            </a:extLst>
          </p:cNvPr>
          <p:cNvSpPr/>
          <p:nvPr/>
        </p:nvSpPr>
        <p:spPr>
          <a:xfrm>
            <a:off x="4777195" y="3212976"/>
            <a:ext cx="2515689" cy="2880320"/>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bg1">
              <a:lumMod val="85000"/>
            </a:schemeClr>
          </a:solidFill>
          <a:ln w="12700">
            <a:noFill/>
            <a:miter lim="400000"/>
          </a:ln>
          <a:effectLst/>
        </p:spPr>
        <p:txBody>
          <a:bodyPr lIns="135000" tIns="135000" rIns="135000" bIns="135000" anchor="ctr"/>
          <a:lstStyle/>
          <a:p>
            <a:pPr algn="just">
              <a:defRPr sz="3000">
                <a:solidFill>
                  <a:srgbClr val="FFFFFF"/>
                </a:solidFill>
              </a:defRPr>
            </a:pPr>
            <a:r>
              <a:rPr lang="lt-LT" sz="1050" noProof="1">
                <a:solidFill>
                  <a:srgbClr val="000000"/>
                </a:solidFill>
              </a:rPr>
              <a:t>Įvairūs PKT teikėjai gali ir toliau vykdyti atskiras poreikių nustatymo apklausas ir kt. Svarbu žinoti savivaldybės bei mokyklos lygmens poreikius, kartu juos derinant su nacionaliniais bei tarptautiniais poreikiais. Lokalius poreikius galėtų nustatyti švietimo centrai, o nacionalinius – aukštosios mokyklos (</a:t>
            </a:r>
            <a:r>
              <a:rPr lang="lt-LT" sz="1050" i="1" noProof="1">
                <a:solidFill>
                  <a:srgbClr val="000000"/>
                </a:solidFill>
              </a:rPr>
              <a:t>žr. 4 rekomendaciją</a:t>
            </a:r>
            <a:r>
              <a:rPr lang="lt-LT" sz="1050" noProof="1">
                <a:solidFill>
                  <a:srgbClr val="000000"/>
                </a:solidFill>
              </a:rPr>
              <a:t>)  kartu su ŠMSM ar NŠA.</a:t>
            </a:r>
          </a:p>
        </p:txBody>
      </p:sp>
      <p:sp>
        <p:nvSpPr>
          <p:cNvPr id="37" name="Shape">
            <a:extLst>
              <a:ext uri="{FF2B5EF4-FFF2-40B4-BE49-F238E27FC236}">
                <a16:creationId xmlns:a16="http://schemas.microsoft.com/office/drawing/2014/main" id="{C74B8469-6B4D-40AE-9FF8-E931DEDE5EFF}"/>
              </a:ext>
            </a:extLst>
          </p:cNvPr>
          <p:cNvSpPr/>
          <p:nvPr/>
        </p:nvSpPr>
        <p:spPr>
          <a:xfrm>
            <a:off x="4784591" y="1304344"/>
            <a:ext cx="2500898" cy="1044536"/>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accent2"/>
          </a:solidFill>
          <a:ln w="12700">
            <a:noFill/>
            <a:miter lim="400000"/>
          </a:ln>
          <a:effectLst/>
        </p:spPr>
        <p:txBody>
          <a:bodyPr lIns="135000" tIns="135000" rIns="135000" bIns="135000" anchor="ctr"/>
          <a:lstStyle/>
          <a:p>
            <a:pPr algn="ctr">
              <a:defRPr sz="3000">
                <a:solidFill>
                  <a:srgbClr val="FFFFFF"/>
                </a:solidFill>
              </a:defRPr>
            </a:pPr>
            <a:r>
              <a:rPr lang="lt-LT" sz="1050" noProof="1">
                <a:solidFill>
                  <a:schemeClr val="bg1"/>
                </a:solidFill>
              </a:rPr>
              <a:t>Siūloma skatinti informacijos apie pedagogų poreikius dalinimąsi tarp institucijų</a:t>
            </a:r>
          </a:p>
        </p:txBody>
      </p:sp>
      <p:grpSp>
        <p:nvGrpSpPr>
          <p:cNvPr id="13" name="Group 12">
            <a:extLst>
              <a:ext uri="{FF2B5EF4-FFF2-40B4-BE49-F238E27FC236}">
                <a16:creationId xmlns:a16="http://schemas.microsoft.com/office/drawing/2014/main" id="{6FF6DCE5-6046-40BF-B824-72ECC9EF7F29}"/>
              </a:ext>
            </a:extLst>
          </p:cNvPr>
          <p:cNvGrpSpPr/>
          <p:nvPr/>
        </p:nvGrpSpPr>
        <p:grpSpPr>
          <a:xfrm>
            <a:off x="2480575" y="2266811"/>
            <a:ext cx="1279083" cy="1229828"/>
            <a:chOff x="776955" y="2821379"/>
            <a:chExt cx="1279083" cy="1229828"/>
          </a:xfrm>
          <a:effectLst/>
        </p:grpSpPr>
        <p:sp>
          <p:nvSpPr>
            <p:cNvPr id="14" name="Shape">
              <a:extLst>
                <a:ext uri="{FF2B5EF4-FFF2-40B4-BE49-F238E27FC236}">
                  <a16:creationId xmlns:a16="http://schemas.microsoft.com/office/drawing/2014/main" id="{E42A5B84-AE5C-4585-B8EF-E6B31FC6462E}"/>
                </a:ext>
              </a:extLst>
            </p:cNvPr>
            <p:cNvSpPr/>
            <p:nvPr/>
          </p:nvSpPr>
          <p:spPr>
            <a:xfrm>
              <a:off x="776955" y="2821379"/>
              <a:ext cx="1279083" cy="1229828"/>
            </a:xfrm>
            <a:custGeom>
              <a:avLst/>
              <a:gdLst/>
              <a:ahLst/>
              <a:cxnLst>
                <a:cxn ang="0">
                  <a:pos x="wd2" y="hd2"/>
                </a:cxn>
                <a:cxn ang="5400000">
                  <a:pos x="wd2" y="hd2"/>
                </a:cxn>
                <a:cxn ang="10800000">
                  <a:pos x="wd2" y="hd2"/>
                </a:cxn>
                <a:cxn ang="16200000">
                  <a:pos x="wd2" y="hd2"/>
                </a:cxn>
              </a:cxnLst>
              <a:rect l="0" t="0" r="r" b="b"/>
              <a:pathLst>
                <a:path w="20936" h="21600" extrusionOk="0">
                  <a:moveTo>
                    <a:pt x="11986" y="0"/>
                  </a:moveTo>
                  <a:lnTo>
                    <a:pt x="8950" y="0"/>
                  </a:lnTo>
                  <a:cubicBezTo>
                    <a:pt x="6296" y="0"/>
                    <a:pt x="3842" y="1521"/>
                    <a:pt x="2515" y="3988"/>
                  </a:cubicBezTo>
                  <a:lnTo>
                    <a:pt x="995" y="6812"/>
                  </a:lnTo>
                  <a:cubicBezTo>
                    <a:pt x="-332" y="9279"/>
                    <a:pt x="-332" y="12318"/>
                    <a:pt x="995" y="14788"/>
                  </a:cubicBezTo>
                  <a:lnTo>
                    <a:pt x="2515" y="17612"/>
                  </a:lnTo>
                  <a:cubicBezTo>
                    <a:pt x="3842" y="20079"/>
                    <a:pt x="6296" y="21600"/>
                    <a:pt x="8950" y="21600"/>
                  </a:cubicBezTo>
                  <a:lnTo>
                    <a:pt x="11986" y="21600"/>
                  </a:lnTo>
                  <a:cubicBezTo>
                    <a:pt x="14640" y="21600"/>
                    <a:pt x="17094" y="20079"/>
                    <a:pt x="18421" y="17612"/>
                  </a:cubicBezTo>
                  <a:lnTo>
                    <a:pt x="19941" y="14788"/>
                  </a:lnTo>
                  <a:cubicBezTo>
                    <a:pt x="21268" y="12321"/>
                    <a:pt x="21268" y="9282"/>
                    <a:pt x="19941" y="6812"/>
                  </a:cubicBezTo>
                  <a:lnTo>
                    <a:pt x="18421" y="3988"/>
                  </a:lnTo>
                  <a:cubicBezTo>
                    <a:pt x="17097" y="1521"/>
                    <a:pt x="14643" y="0"/>
                    <a:pt x="11986" y="0"/>
                  </a:cubicBezTo>
                  <a:close/>
                </a:path>
              </a:pathLst>
            </a:custGeom>
            <a:solidFill>
              <a:srgbClr val="F4F5F5"/>
            </a:solidFill>
            <a:ln w="12700">
              <a:solidFill>
                <a:schemeClr val="bg1">
                  <a:lumMod val="75000"/>
                  <a:alpha val="40000"/>
                </a:schemeClr>
              </a:solidFill>
              <a:miter lim="400000"/>
            </a:ln>
            <a:effectLst>
              <a:outerShdw blurRad="88900" dist="38100" dir="2400000" algn="l" rotWithShape="0">
                <a:prstClr val="black">
                  <a:alpha val="40000"/>
                </a:prstClr>
              </a:outerShdw>
            </a:effectLst>
          </p:spPr>
          <p:txBody>
            <a:bodyPr lIns="135000" tIns="135000" rIns="135000" bIns="135000" anchor="b"/>
            <a:lstStyle/>
            <a:p>
              <a:pPr algn="ctr"/>
              <a:endParaRPr sz="1000">
                <a:solidFill>
                  <a:schemeClr val="tx1">
                    <a:lumMod val="65000"/>
                    <a:lumOff val="35000"/>
                  </a:schemeClr>
                </a:solidFill>
              </a:endParaRPr>
            </a:p>
          </p:txBody>
        </p:sp>
        <p:sp>
          <p:nvSpPr>
            <p:cNvPr id="15" name="Shape">
              <a:extLst>
                <a:ext uri="{FF2B5EF4-FFF2-40B4-BE49-F238E27FC236}">
                  <a16:creationId xmlns:a16="http://schemas.microsoft.com/office/drawing/2014/main" id="{AA16E7A9-E674-486E-B1A1-25482019E52C}"/>
                </a:ext>
              </a:extLst>
            </p:cNvPr>
            <p:cNvSpPr/>
            <p:nvPr/>
          </p:nvSpPr>
          <p:spPr>
            <a:xfrm>
              <a:off x="883647" y="2910289"/>
              <a:ext cx="1065163" cy="1044536"/>
            </a:xfrm>
            <a:custGeom>
              <a:avLst/>
              <a:gdLst/>
              <a:ahLst/>
              <a:cxnLst>
                <a:cxn ang="0">
                  <a:pos x="wd2" y="hd2"/>
                </a:cxn>
                <a:cxn ang="5400000">
                  <a:pos x="wd2" y="hd2"/>
                </a:cxn>
                <a:cxn ang="10800000">
                  <a:pos x="wd2" y="hd2"/>
                </a:cxn>
                <a:cxn ang="16200000">
                  <a:pos x="wd2" y="hd2"/>
                </a:cxn>
              </a:cxnLst>
              <a:rect l="0" t="0" r="r" b="b"/>
              <a:pathLst>
                <a:path w="20808" h="21600" extrusionOk="0">
                  <a:moveTo>
                    <a:pt x="11172" y="0"/>
                  </a:moveTo>
                  <a:lnTo>
                    <a:pt x="9636" y="0"/>
                  </a:lnTo>
                  <a:cubicBezTo>
                    <a:pt x="6468" y="0"/>
                    <a:pt x="3540" y="1791"/>
                    <a:pt x="1956" y="4696"/>
                  </a:cubicBezTo>
                  <a:lnTo>
                    <a:pt x="1188" y="6104"/>
                  </a:lnTo>
                  <a:cubicBezTo>
                    <a:pt x="-396" y="9009"/>
                    <a:pt x="-396" y="12587"/>
                    <a:pt x="1188" y="15496"/>
                  </a:cubicBezTo>
                  <a:lnTo>
                    <a:pt x="1956" y="16904"/>
                  </a:lnTo>
                  <a:cubicBezTo>
                    <a:pt x="3540" y="19809"/>
                    <a:pt x="6468" y="21600"/>
                    <a:pt x="9636" y="21600"/>
                  </a:cubicBezTo>
                  <a:lnTo>
                    <a:pt x="11172" y="21600"/>
                  </a:lnTo>
                  <a:cubicBezTo>
                    <a:pt x="14340" y="21600"/>
                    <a:pt x="17268" y="19809"/>
                    <a:pt x="18852" y="16904"/>
                  </a:cubicBezTo>
                  <a:lnTo>
                    <a:pt x="19620" y="15496"/>
                  </a:lnTo>
                  <a:cubicBezTo>
                    <a:pt x="21204" y="12591"/>
                    <a:pt x="21204" y="9013"/>
                    <a:pt x="19620" y="6104"/>
                  </a:cubicBezTo>
                  <a:lnTo>
                    <a:pt x="18852" y="4696"/>
                  </a:lnTo>
                  <a:cubicBezTo>
                    <a:pt x="17268" y="1791"/>
                    <a:pt x="14340" y="0"/>
                    <a:pt x="11172" y="0"/>
                  </a:cubicBezTo>
                  <a:close/>
                </a:path>
              </a:pathLst>
            </a:custGeom>
            <a:solidFill>
              <a:schemeClr val="accent4"/>
            </a:solidFill>
            <a:ln w="12700">
              <a:miter lim="400000"/>
            </a:ln>
          </p:spPr>
          <p:txBody>
            <a:bodyPr lIns="28575" tIns="28575" rIns="28575" bIns="28575" anchor="ctr"/>
            <a:lstStyle/>
            <a:p>
              <a:pPr algn="ctr">
                <a:defRPr sz="3000">
                  <a:solidFill>
                    <a:srgbClr val="FFFFFF"/>
                  </a:solidFill>
                </a:defRPr>
              </a:pPr>
              <a:r>
                <a:rPr lang="lt-LT" sz="2400" b="1"/>
                <a:t>4</a:t>
              </a:r>
              <a:endParaRPr sz="2400" b="1"/>
            </a:p>
          </p:txBody>
        </p:sp>
      </p:grpSp>
      <p:grpSp>
        <p:nvGrpSpPr>
          <p:cNvPr id="34" name="Group 33">
            <a:extLst>
              <a:ext uri="{FF2B5EF4-FFF2-40B4-BE49-F238E27FC236}">
                <a16:creationId xmlns:a16="http://schemas.microsoft.com/office/drawing/2014/main" id="{D609BA43-417E-4757-B706-DD3ACEFBF4BE}"/>
              </a:ext>
            </a:extLst>
          </p:cNvPr>
          <p:cNvGrpSpPr/>
          <p:nvPr/>
        </p:nvGrpSpPr>
        <p:grpSpPr>
          <a:xfrm>
            <a:off x="5395499" y="2271180"/>
            <a:ext cx="1279083" cy="1229828"/>
            <a:chOff x="776955" y="2821379"/>
            <a:chExt cx="1279083" cy="1229828"/>
          </a:xfrm>
          <a:effectLst/>
        </p:grpSpPr>
        <p:sp>
          <p:nvSpPr>
            <p:cNvPr id="35" name="Shape">
              <a:extLst>
                <a:ext uri="{FF2B5EF4-FFF2-40B4-BE49-F238E27FC236}">
                  <a16:creationId xmlns:a16="http://schemas.microsoft.com/office/drawing/2014/main" id="{EFCB7BC9-EA83-4CF3-BB53-2F09B9A88BED}"/>
                </a:ext>
              </a:extLst>
            </p:cNvPr>
            <p:cNvSpPr/>
            <p:nvPr/>
          </p:nvSpPr>
          <p:spPr>
            <a:xfrm>
              <a:off x="776955" y="2821379"/>
              <a:ext cx="1279083" cy="1229828"/>
            </a:xfrm>
            <a:custGeom>
              <a:avLst/>
              <a:gdLst/>
              <a:ahLst/>
              <a:cxnLst>
                <a:cxn ang="0">
                  <a:pos x="wd2" y="hd2"/>
                </a:cxn>
                <a:cxn ang="5400000">
                  <a:pos x="wd2" y="hd2"/>
                </a:cxn>
                <a:cxn ang="10800000">
                  <a:pos x="wd2" y="hd2"/>
                </a:cxn>
                <a:cxn ang="16200000">
                  <a:pos x="wd2" y="hd2"/>
                </a:cxn>
              </a:cxnLst>
              <a:rect l="0" t="0" r="r" b="b"/>
              <a:pathLst>
                <a:path w="20936" h="21600" extrusionOk="0">
                  <a:moveTo>
                    <a:pt x="11986" y="0"/>
                  </a:moveTo>
                  <a:lnTo>
                    <a:pt x="8950" y="0"/>
                  </a:lnTo>
                  <a:cubicBezTo>
                    <a:pt x="6296" y="0"/>
                    <a:pt x="3842" y="1521"/>
                    <a:pt x="2515" y="3988"/>
                  </a:cubicBezTo>
                  <a:lnTo>
                    <a:pt x="995" y="6812"/>
                  </a:lnTo>
                  <a:cubicBezTo>
                    <a:pt x="-332" y="9279"/>
                    <a:pt x="-332" y="12318"/>
                    <a:pt x="995" y="14788"/>
                  </a:cubicBezTo>
                  <a:lnTo>
                    <a:pt x="2515" y="17612"/>
                  </a:lnTo>
                  <a:cubicBezTo>
                    <a:pt x="3842" y="20079"/>
                    <a:pt x="6296" y="21600"/>
                    <a:pt x="8950" y="21600"/>
                  </a:cubicBezTo>
                  <a:lnTo>
                    <a:pt x="11986" y="21600"/>
                  </a:lnTo>
                  <a:cubicBezTo>
                    <a:pt x="14640" y="21600"/>
                    <a:pt x="17094" y="20079"/>
                    <a:pt x="18421" y="17612"/>
                  </a:cubicBezTo>
                  <a:lnTo>
                    <a:pt x="19941" y="14788"/>
                  </a:lnTo>
                  <a:cubicBezTo>
                    <a:pt x="21268" y="12321"/>
                    <a:pt x="21268" y="9282"/>
                    <a:pt x="19941" y="6812"/>
                  </a:cubicBezTo>
                  <a:lnTo>
                    <a:pt x="18421" y="3988"/>
                  </a:lnTo>
                  <a:cubicBezTo>
                    <a:pt x="17097" y="1521"/>
                    <a:pt x="14643" y="0"/>
                    <a:pt x="11986" y="0"/>
                  </a:cubicBezTo>
                  <a:close/>
                </a:path>
              </a:pathLst>
            </a:custGeom>
            <a:solidFill>
              <a:srgbClr val="F4F5F5"/>
            </a:solidFill>
            <a:ln w="12700">
              <a:solidFill>
                <a:schemeClr val="bg1">
                  <a:lumMod val="75000"/>
                  <a:alpha val="40000"/>
                </a:schemeClr>
              </a:solidFill>
              <a:miter lim="400000"/>
            </a:ln>
            <a:effectLst>
              <a:outerShdw blurRad="88900" dist="38100" dir="2400000" algn="l" rotWithShape="0">
                <a:prstClr val="black">
                  <a:alpha val="40000"/>
                </a:prstClr>
              </a:outerShdw>
            </a:effectLst>
          </p:spPr>
          <p:txBody>
            <a:bodyPr lIns="135000" tIns="135000" rIns="135000" bIns="135000" anchor="b"/>
            <a:lstStyle/>
            <a:p>
              <a:pPr algn="ctr"/>
              <a:endParaRPr sz="1000">
                <a:solidFill>
                  <a:schemeClr val="tx1">
                    <a:lumMod val="65000"/>
                    <a:lumOff val="35000"/>
                  </a:schemeClr>
                </a:solidFill>
              </a:endParaRPr>
            </a:p>
          </p:txBody>
        </p:sp>
        <p:sp>
          <p:nvSpPr>
            <p:cNvPr id="36" name="Shape">
              <a:extLst>
                <a:ext uri="{FF2B5EF4-FFF2-40B4-BE49-F238E27FC236}">
                  <a16:creationId xmlns:a16="http://schemas.microsoft.com/office/drawing/2014/main" id="{E8D72F5E-511D-4DDA-8EB8-135528A20D5A}"/>
                </a:ext>
              </a:extLst>
            </p:cNvPr>
            <p:cNvSpPr/>
            <p:nvPr/>
          </p:nvSpPr>
          <p:spPr>
            <a:xfrm>
              <a:off x="883647" y="2910289"/>
              <a:ext cx="1065163" cy="1044536"/>
            </a:xfrm>
            <a:custGeom>
              <a:avLst/>
              <a:gdLst/>
              <a:ahLst/>
              <a:cxnLst>
                <a:cxn ang="0">
                  <a:pos x="wd2" y="hd2"/>
                </a:cxn>
                <a:cxn ang="5400000">
                  <a:pos x="wd2" y="hd2"/>
                </a:cxn>
                <a:cxn ang="10800000">
                  <a:pos x="wd2" y="hd2"/>
                </a:cxn>
                <a:cxn ang="16200000">
                  <a:pos x="wd2" y="hd2"/>
                </a:cxn>
              </a:cxnLst>
              <a:rect l="0" t="0" r="r" b="b"/>
              <a:pathLst>
                <a:path w="20808" h="21600" extrusionOk="0">
                  <a:moveTo>
                    <a:pt x="11172" y="0"/>
                  </a:moveTo>
                  <a:lnTo>
                    <a:pt x="9636" y="0"/>
                  </a:lnTo>
                  <a:cubicBezTo>
                    <a:pt x="6468" y="0"/>
                    <a:pt x="3540" y="1791"/>
                    <a:pt x="1956" y="4696"/>
                  </a:cubicBezTo>
                  <a:lnTo>
                    <a:pt x="1188" y="6104"/>
                  </a:lnTo>
                  <a:cubicBezTo>
                    <a:pt x="-396" y="9009"/>
                    <a:pt x="-396" y="12587"/>
                    <a:pt x="1188" y="15496"/>
                  </a:cubicBezTo>
                  <a:lnTo>
                    <a:pt x="1956" y="16904"/>
                  </a:lnTo>
                  <a:cubicBezTo>
                    <a:pt x="3540" y="19809"/>
                    <a:pt x="6468" y="21600"/>
                    <a:pt x="9636" y="21600"/>
                  </a:cubicBezTo>
                  <a:lnTo>
                    <a:pt x="11172" y="21600"/>
                  </a:lnTo>
                  <a:cubicBezTo>
                    <a:pt x="14340" y="21600"/>
                    <a:pt x="17268" y="19809"/>
                    <a:pt x="18852" y="16904"/>
                  </a:cubicBezTo>
                  <a:lnTo>
                    <a:pt x="19620" y="15496"/>
                  </a:lnTo>
                  <a:cubicBezTo>
                    <a:pt x="21204" y="12591"/>
                    <a:pt x="21204" y="9013"/>
                    <a:pt x="19620" y="6104"/>
                  </a:cubicBezTo>
                  <a:lnTo>
                    <a:pt x="18852" y="4696"/>
                  </a:lnTo>
                  <a:cubicBezTo>
                    <a:pt x="17268" y="1791"/>
                    <a:pt x="14340" y="0"/>
                    <a:pt x="11172" y="0"/>
                  </a:cubicBezTo>
                  <a:close/>
                </a:path>
              </a:pathLst>
            </a:custGeom>
            <a:solidFill>
              <a:schemeClr val="accent4"/>
            </a:solidFill>
            <a:ln w="12700">
              <a:miter lim="400000"/>
            </a:ln>
          </p:spPr>
          <p:txBody>
            <a:bodyPr lIns="28575" tIns="28575" rIns="28575" bIns="28575" anchor="ctr"/>
            <a:lstStyle/>
            <a:p>
              <a:pPr algn="ctr">
                <a:defRPr sz="3000">
                  <a:solidFill>
                    <a:srgbClr val="FFFFFF"/>
                  </a:solidFill>
                </a:defRPr>
              </a:pPr>
              <a:r>
                <a:rPr lang="lt-LT" sz="2400" b="1"/>
                <a:t>5</a:t>
              </a:r>
              <a:endParaRPr sz="2400" b="1"/>
            </a:p>
          </p:txBody>
        </p:sp>
      </p:grpSp>
    </p:spTree>
    <p:extLst>
      <p:ext uri="{BB962C8B-B14F-4D97-AF65-F5344CB8AC3E}">
        <p14:creationId xmlns:p14="http://schemas.microsoft.com/office/powerpoint/2010/main" val="34919031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0CF06-F67F-46A1-A04D-A878CEED134A}"/>
              </a:ext>
            </a:extLst>
          </p:cNvPr>
          <p:cNvSpPr>
            <a:spLocks noGrp="1"/>
          </p:cNvSpPr>
          <p:nvPr>
            <p:ph type="title"/>
          </p:nvPr>
        </p:nvSpPr>
        <p:spPr/>
        <p:txBody>
          <a:bodyPr>
            <a:normAutofit/>
          </a:bodyPr>
          <a:lstStyle/>
          <a:p>
            <a:r>
              <a:rPr lang="lt-LT" dirty="0"/>
              <a:t>Rekomendacijos poreikių vertinimui</a:t>
            </a:r>
            <a:r>
              <a:rPr lang="en-GB" dirty="0"/>
              <a:t> (2 / 2)</a:t>
            </a:r>
            <a:endParaRPr lang="en-US" dirty="0"/>
          </a:p>
        </p:txBody>
      </p:sp>
      <p:sp>
        <p:nvSpPr>
          <p:cNvPr id="39" name="Shape">
            <a:extLst>
              <a:ext uri="{FF2B5EF4-FFF2-40B4-BE49-F238E27FC236}">
                <a16:creationId xmlns:a16="http://schemas.microsoft.com/office/drawing/2014/main" id="{E4B6382C-1478-43D6-921B-96F2A843BB7A}"/>
              </a:ext>
            </a:extLst>
          </p:cNvPr>
          <p:cNvSpPr/>
          <p:nvPr/>
        </p:nvSpPr>
        <p:spPr>
          <a:xfrm>
            <a:off x="1839957" y="3212976"/>
            <a:ext cx="2515689" cy="2880320"/>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bg1">
              <a:lumMod val="85000"/>
            </a:schemeClr>
          </a:solidFill>
          <a:ln w="12700">
            <a:noFill/>
            <a:miter lim="400000"/>
          </a:ln>
          <a:effectLst/>
        </p:spPr>
        <p:txBody>
          <a:bodyPr lIns="135000" tIns="135000" rIns="135000" bIns="135000" anchor="ctr"/>
          <a:lstStyle/>
          <a:p>
            <a:pPr algn="just">
              <a:defRPr sz="3000">
                <a:solidFill>
                  <a:srgbClr val="FFFFFF"/>
                </a:solidFill>
              </a:defRPr>
            </a:pPr>
            <a:r>
              <a:rPr lang="lt-LT" sz="1050" noProof="1">
                <a:solidFill>
                  <a:srgbClr val="000000"/>
                </a:solidFill>
              </a:rPr>
              <a:t>Poreikiai regioniniu, ugdymo įstaigų lygmeniu turėtų būti formuojami ir atsižvelgiant į mokinių pasiekimų tyrimų rezultatus.</a:t>
            </a:r>
          </a:p>
        </p:txBody>
      </p:sp>
      <p:sp>
        <p:nvSpPr>
          <p:cNvPr id="43" name="Shape">
            <a:extLst>
              <a:ext uri="{FF2B5EF4-FFF2-40B4-BE49-F238E27FC236}">
                <a16:creationId xmlns:a16="http://schemas.microsoft.com/office/drawing/2014/main" id="{57F6E1ED-4727-40EC-8887-86E88EE89ECE}"/>
              </a:ext>
            </a:extLst>
          </p:cNvPr>
          <p:cNvSpPr/>
          <p:nvPr/>
        </p:nvSpPr>
        <p:spPr>
          <a:xfrm>
            <a:off x="1843655" y="1304344"/>
            <a:ext cx="2500898" cy="1044536"/>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accent2"/>
          </a:solidFill>
          <a:ln w="12700">
            <a:noFill/>
            <a:miter lim="400000"/>
          </a:ln>
          <a:effectLst/>
        </p:spPr>
        <p:txBody>
          <a:bodyPr lIns="135000" tIns="135000" rIns="135000" bIns="135000" anchor="ctr"/>
          <a:lstStyle/>
          <a:p>
            <a:pPr algn="ctr">
              <a:defRPr sz="3000">
                <a:solidFill>
                  <a:srgbClr val="FFFFFF"/>
                </a:solidFill>
              </a:defRPr>
            </a:pPr>
            <a:r>
              <a:rPr lang="lt-LT" sz="1050" noProof="1">
                <a:solidFill>
                  <a:schemeClr val="bg1"/>
                </a:solidFill>
              </a:rPr>
              <a:t>Į poreikių vertinimą reikalinga įtraukti ir mokinių rezultatų vertinimą per PUPP, VBE, mokyklų pažangos ataskaitas</a:t>
            </a:r>
          </a:p>
        </p:txBody>
      </p:sp>
      <p:grpSp>
        <p:nvGrpSpPr>
          <p:cNvPr id="40" name="Group 39">
            <a:extLst>
              <a:ext uri="{FF2B5EF4-FFF2-40B4-BE49-F238E27FC236}">
                <a16:creationId xmlns:a16="http://schemas.microsoft.com/office/drawing/2014/main" id="{6529504E-9565-42F1-A711-5404468FA1B7}"/>
              </a:ext>
            </a:extLst>
          </p:cNvPr>
          <p:cNvGrpSpPr/>
          <p:nvPr/>
        </p:nvGrpSpPr>
        <p:grpSpPr>
          <a:xfrm>
            <a:off x="2458262" y="2271180"/>
            <a:ext cx="1279083" cy="1229828"/>
            <a:chOff x="776955" y="2821379"/>
            <a:chExt cx="1279083" cy="1229828"/>
          </a:xfrm>
          <a:effectLst/>
        </p:grpSpPr>
        <p:sp>
          <p:nvSpPr>
            <p:cNvPr id="41" name="Shape">
              <a:extLst>
                <a:ext uri="{FF2B5EF4-FFF2-40B4-BE49-F238E27FC236}">
                  <a16:creationId xmlns:a16="http://schemas.microsoft.com/office/drawing/2014/main" id="{272A1043-51C8-4EF9-9294-F36E6DBA8520}"/>
                </a:ext>
              </a:extLst>
            </p:cNvPr>
            <p:cNvSpPr/>
            <p:nvPr/>
          </p:nvSpPr>
          <p:spPr>
            <a:xfrm>
              <a:off x="776955" y="2821379"/>
              <a:ext cx="1279083" cy="1229828"/>
            </a:xfrm>
            <a:custGeom>
              <a:avLst/>
              <a:gdLst/>
              <a:ahLst/>
              <a:cxnLst>
                <a:cxn ang="0">
                  <a:pos x="wd2" y="hd2"/>
                </a:cxn>
                <a:cxn ang="5400000">
                  <a:pos x="wd2" y="hd2"/>
                </a:cxn>
                <a:cxn ang="10800000">
                  <a:pos x="wd2" y="hd2"/>
                </a:cxn>
                <a:cxn ang="16200000">
                  <a:pos x="wd2" y="hd2"/>
                </a:cxn>
              </a:cxnLst>
              <a:rect l="0" t="0" r="r" b="b"/>
              <a:pathLst>
                <a:path w="20936" h="21600" extrusionOk="0">
                  <a:moveTo>
                    <a:pt x="11986" y="0"/>
                  </a:moveTo>
                  <a:lnTo>
                    <a:pt x="8950" y="0"/>
                  </a:lnTo>
                  <a:cubicBezTo>
                    <a:pt x="6296" y="0"/>
                    <a:pt x="3842" y="1521"/>
                    <a:pt x="2515" y="3988"/>
                  </a:cubicBezTo>
                  <a:lnTo>
                    <a:pt x="995" y="6812"/>
                  </a:lnTo>
                  <a:cubicBezTo>
                    <a:pt x="-332" y="9279"/>
                    <a:pt x="-332" y="12318"/>
                    <a:pt x="995" y="14788"/>
                  </a:cubicBezTo>
                  <a:lnTo>
                    <a:pt x="2515" y="17612"/>
                  </a:lnTo>
                  <a:cubicBezTo>
                    <a:pt x="3842" y="20079"/>
                    <a:pt x="6296" y="21600"/>
                    <a:pt x="8950" y="21600"/>
                  </a:cubicBezTo>
                  <a:lnTo>
                    <a:pt x="11986" y="21600"/>
                  </a:lnTo>
                  <a:cubicBezTo>
                    <a:pt x="14640" y="21600"/>
                    <a:pt x="17094" y="20079"/>
                    <a:pt x="18421" y="17612"/>
                  </a:cubicBezTo>
                  <a:lnTo>
                    <a:pt x="19941" y="14788"/>
                  </a:lnTo>
                  <a:cubicBezTo>
                    <a:pt x="21268" y="12321"/>
                    <a:pt x="21268" y="9282"/>
                    <a:pt x="19941" y="6812"/>
                  </a:cubicBezTo>
                  <a:lnTo>
                    <a:pt x="18421" y="3988"/>
                  </a:lnTo>
                  <a:cubicBezTo>
                    <a:pt x="17097" y="1521"/>
                    <a:pt x="14643" y="0"/>
                    <a:pt x="11986" y="0"/>
                  </a:cubicBezTo>
                  <a:close/>
                </a:path>
              </a:pathLst>
            </a:custGeom>
            <a:solidFill>
              <a:srgbClr val="F4F5F5"/>
            </a:solidFill>
            <a:ln w="12700">
              <a:solidFill>
                <a:schemeClr val="bg1">
                  <a:lumMod val="75000"/>
                  <a:alpha val="40000"/>
                </a:schemeClr>
              </a:solidFill>
              <a:miter lim="400000"/>
            </a:ln>
            <a:effectLst>
              <a:outerShdw blurRad="88900" dist="38100" dir="2400000" algn="l" rotWithShape="0">
                <a:prstClr val="black">
                  <a:alpha val="40000"/>
                </a:prstClr>
              </a:outerShdw>
            </a:effectLst>
          </p:spPr>
          <p:txBody>
            <a:bodyPr lIns="135000" tIns="135000" rIns="135000" bIns="135000" anchor="b"/>
            <a:lstStyle/>
            <a:p>
              <a:pPr algn="ctr"/>
              <a:endParaRPr sz="1000">
                <a:solidFill>
                  <a:schemeClr val="tx1">
                    <a:lumMod val="65000"/>
                    <a:lumOff val="35000"/>
                  </a:schemeClr>
                </a:solidFill>
              </a:endParaRPr>
            </a:p>
          </p:txBody>
        </p:sp>
        <p:sp>
          <p:nvSpPr>
            <p:cNvPr id="42" name="Shape">
              <a:extLst>
                <a:ext uri="{FF2B5EF4-FFF2-40B4-BE49-F238E27FC236}">
                  <a16:creationId xmlns:a16="http://schemas.microsoft.com/office/drawing/2014/main" id="{A5D66E96-27FF-415E-BD07-5E67DA89029C}"/>
                </a:ext>
              </a:extLst>
            </p:cNvPr>
            <p:cNvSpPr/>
            <p:nvPr/>
          </p:nvSpPr>
          <p:spPr>
            <a:xfrm>
              <a:off x="883647" y="2910289"/>
              <a:ext cx="1065163" cy="1044536"/>
            </a:xfrm>
            <a:custGeom>
              <a:avLst/>
              <a:gdLst/>
              <a:ahLst/>
              <a:cxnLst>
                <a:cxn ang="0">
                  <a:pos x="wd2" y="hd2"/>
                </a:cxn>
                <a:cxn ang="5400000">
                  <a:pos x="wd2" y="hd2"/>
                </a:cxn>
                <a:cxn ang="10800000">
                  <a:pos x="wd2" y="hd2"/>
                </a:cxn>
                <a:cxn ang="16200000">
                  <a:pos x="wd2" y="hd2"/>
                </a:cxn>
              </a:cxnLst>
              <a:rect l="0" t="0" r="r" b="b"/>
              <a:pathLst>
                <a:path w="20808" h="21600" extrusionOk="0">
                  <a:moveTo>
                    <a:pt x="11172" y="0"/>
                  </a:moveTo>
                  <a:lnTo>
                    <a:pt x="9636" y="0"/>
                  </a:lnTo>
                  <a:cubicBezTo>
                    <a:pt x="6468" y="0"/>
                    <a:pt x="3540" y="1791"/>
                    <a:pt x="1956" y="4696"/>
                  </a:cubicBezTo>
                  <a:lnTo>
                    <a:pt x="1188" y="6104"/>
                  </a:lnTo>
                  <a:cubicBezTo>
                    <a:pt x="-396" y="9009"/>
                    <a:pt x="-396" y="12587"/>
                    <a:pt x="1188" y="15496"/>
                  </a:cubicBezTo>
                  <a:lnTo>
                    <a:pt x="1956" y="16904"/>
                  </a:lnTo>
                  <a:cubicBezTo>
                    <a:pt x="3540" y="19809"/>
                    <a:pt x="6468" y="21600"/>
                    <a:pt x="9636" y="21600"/>
                  </a:cubicBezTo>
                  <a:lnTo>
                    <a:pt x="11172" y="21600"/>
                  </a:lnTo>
                  <a:cubicBezTo>
                    <a:pt x="14340" y="21600"/>
                    <a:pt x="17268" y="19809"/>
                    <a:pt x="18852" y="16904"/>
                  </a:cubicBezTo>
                  <a:lnTo>
                    <a:pt x="19620" y="15496"/>
                  </a:lnTo>
                  <a:cubicBezTo>
                    <a:pt x="21204" y="12591"/>
                    <a:pt x="21204" y="9013"/>
                    <a:pt x="19620" y="6104"/>
                  </a:cubicBezTo>
                  <a:lnTo>
                    <a:pt x="18852" y="4696"/>
                  </a:lnTo>
                  <a:cubicBezTo>
                    <a:pt x="17268" y="1791"/>
                    <a:pt x="14340" y="0"/>
                    <a:pt x="11172" y="0"/>
                  </a:cubicBezTo>
                  <a:close/>
                </a:path>
              </a:pathLst>
            </a:custGeom>
            <a:solidFill>
              <a:schemeClr val="accent4"/>
            </a:solidFill>
            <a:ln w="12700">
              <a:miter lim="400000"/>
            </a:ln>
          </p:spPr>
          <p:txBody>
            <a:bodyPr lIns="28575" tIns="28575" rIns="28575" bIns="28575" anchor="ctr"/>
            <a:lstStyle/>
            <a:p>
              <a:pPr algn="ctr">
                <a:defRPr sz="3000">
                  <a:solidFill>
                    <a:srgbClr val="FFFFFF"/>
                  </a:solidFill>
                </a:defRPr>
              </a:pPr>
              <a:r>
                <a:rPr lang="lt-LT" sz="2400" b="1"/>
                <a:t>6</a:t>
              </a:r>
              <a:endParaRPr sz="2400" b="1"/>
            </a:p>
          </p:txBody>
        </p:sp>
      </p:grpSp>
      <p:sp>
        <p:nvSpPr>
          <p:cNvPr id="19" name="Shape">
            <a:extLst>
              <a:ext uri="{FF2B5EF4-FFF2-40B4-BE49-F238E27FC236}">
                <a16:creationId xmlns:a16="http://schemas.microsoft.com/office/drawing/2014/main" id="{2D5B3C6D-4E10-465E-97FC-EB7ED4DE4654}"/>
              </a:ext>
            </a:extLst>
          </p:cNvPr>
          <p:cNvSpPr/>
          <p:nvPr/>
        </p:nvSpPr>
        <p:spPr>
          <a:xfrm>
            <a:off x="4799565" y="3228216"/>
            <a:ext cx="2515689" cy="2880320"/>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bg1">
              <a:lumMod val="85000"/>
            </a:schemeClr>
          </a:solidFill>
          <a:ln w="12700">
            <a:noFill/>
            <a:miter lim="400000"/>
          </a:ln>
          <a:effectLst/>
        </p:spPr>
        <p:txBody>
          <a:bodyPr lIns="135000" tIns="135000" rIns="135000" bIns="135000" anchor="ctr"/>
          <a:lstStyle/>
          <a:p>
            <a:pPr algn="just">
              <a:defRPr sz="3000">
                <a:solidFill>
                  <a:srgbClr val="FFFFFF"/>
                </a:solidFill>
              </a:defRPr>
            </a:pPr>
            <a:r>
              <a:rPr lang="en-GB" sz="1050" noProof="1">
                <a:solidFill>
                  <a:srgbClr val="000000"/>
                </a:solidFill>
              </a:rPr>
              <a:t>Atnaujinus registr</a:t>
            </a:r>
            <a:r>
              <a:rPr lang="lt-LT" sz="1050" noProof="1">
                <a:solidFill>
                  <a:srgbClr val="000000"/>
                </a:solidFill>
              </a:rPr>
              <a:t>ą PKT paslaugų teikėjai matytų, kiek yra naujų pedagogų ir kur jų trūksta. Aukštosioms mokykloms tai svarbu, nes jos rengia mokomojo dalyko kompetencijos suteikimo studijas. Tačiau taip pat individualių kompetencijų sąrašą svarbu matyti ir PKT teikėjams, siekiant pasiūlyti aktualias PKT veiklas. </a:t>
            </a:r>
          </a:p>
        </p:txBody>
      </p:sp>
      <p:sp>
        <p:nvSpPr>
          <p:cNvPr id="20" name="Shape">
            <a:extLst>
              <a:ext uri="{FF2B5EF4-FFF2-40B4-BE49-F238E27FC236}">
                <a16:creationId xmlns:a16="http://schemas.microsoft.com/office/drawing/2014/main" id="{5C14718E-41A6-43AF-9499-70804CB71BF5}"/>
              </a:ext>
            </a:extLst>
          </p:cNvPr>
          <p:cNvSpPr/>
          <p:nvPr/>
        </p:nvSpPr>
        <p:spPr>
          <a:xfrm>
            <a:off x="4803263" y="1319584"/>
            <a:ext cx="2500898" cy="1044536"/>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accent2"/>
          </a:solidFill>
          <a:ln w="12700">
            <a:noFill/>
            <a:miter lim="400000"/>
          </a:ln>
          <a:effectLst/>
        </p:spPr>
        <p:txBody>
          <a:bodyPr lIns="135000" tIns="135000" rIns="135000" bIns="135000" anchor="ctr"/>
          <a:lstStyle/>
          <a:p>
            <a:pPr algn="ctr">
              <a:defRPr sz="3000">
                <a:solidFill>
                  <a:srgbClr val="FFFFFF"/>
                </a:solidFill>
              </a:defRPr>
            </a:pPr>
            <a:r>
              <a:rPr lang="lt-LT" sz="1050" noProof="1">
                <a:solidFill>
                  <a:schemeClr val="bg1"/>
                </a:solidFill>
              </a:rPr>
              <a:t>Reikėtų atnaujinti pedagogų registrą ir padaryti kompetencijų poreikių skiltį prieinamą PKT teikėjams</a:t>
            </a:r>
          </a:p>
        </p:txBody>
      </p:sp>
      <p:grpSp>
        <p:nvGrpSpPr>
          <p:cNvPr id="21" name="Group 20">
            <a:extLst>
              <a:ext uri="{FF2B5EF4-FFF2-40B4-BE49-F238E27FC236}">
                <a16:creationId xmlns:a16="http://schemas.microsoft.com/office/drawing/2014/main" id="{F28EAC95-F054-4B80-9EDD-D7DDC735EB9C}"/>
              </a:ext>
            </a:extLst>
          </p:cNvPr>
          <p:cNvGrpSpPr/>
          <p:nvPr/>
        </p:nvGrpSpPr>
        <p:grpSpPr>
          <a:xfrm>
            <a:off x="5417870" y="2286420"/>
            <a:ext cx="1279083" cy="1229828"/>
            <a:chOff x="776955" y="2821379"/>
            <a:chExt cx="1279083" cy="1229828"/>
          </a:xfrm>
          <a:effectLst/>
        </p:grpSpPr>
        <p:sp>
          <p:nvSpPr>
            <p:cNvPr id="22" name="Shape">
              <a:extLst>
                <a:ext uri="{FF2B5EF4-FFF2-40B4-BE49-F238E27FC236}">
                  <a16:creationId xmlns:a16="http://schemas.microsoft.com/office/drawing/2014/main" id="{491CF551-09C6-4401-9B11-1BD81513AFA0}"/>
                </a:ext>
              </a:extLst>
            </p:cNvPr>
            <p:cNvSpPr/>
            <p:nvPr/>
          </p:nvSpPr>
          <p:spPr>
            <a:xfrm>
              <a:off x="776955" y="2821379"/>
              <a:ext cx="1279083" cy="1229828"/>
            </a:xfrm>
            <a:custGeom>
              <a:avLst/>
              <a:gdLst/>
              <a:ahLst/>
              <a:cxnLst>
                <a:cxn ang="0">
                  <a:pos x="wd2" y="hd2"/>
                </a:cxn>
                <a:cxn ang="5400000">
                  <a:pos x="wd2" y="hd2"/>
                </a:cxn>
                <a:cxn ang="10800000">
                  <a:pos x="wd2" y="hd2"/>
                </a:cxn>
                <a:cxn ang="16200000">
                  <a:pos x="wd2" y="hd2"/>
                </a:cxn>
              </a:cxnLst>
              <a:rect l="0" t="0" r="r" b="b"/>
              <a:pathLst>
                <a:path w="20936" h="21600" extrusionOk="0">
                  <a:moveTo>
                    <a:pt x="11986" y="0"/>
                  </a:moveTo>
                  <a:lnTo>
                    <a:pt x="8950" y="0"/>
                  </a:lnTo>
                  <a:cubicBezTo>
                    <a:pt x="6296" y="0"/>
                    <a:pt x="3842" y="1521"/>
                    <a:pt x="2515" y="3988"/>
                  </a:cubicBezTo>
                  <a:lnTo>
                    <a:pt x="995" y="6812"/>
                  </a:lnTo>
                  <a:cubicBezTo>
                    <a:pt x="-332" y="9279"/>
                    <a:pt x="-332" y="12318"/>
                    <a:pt x="995" y="14788"/>
                  </a:cubicBezTo>
                  <a:lnTo>
                    <a:pt x="2515" y="17612"/>
                  </a:lnTo>
                  <a:cubicBezTo>
                    <a:pt x="3842" y="20079"/>
                    <a:pt x="6296" y="21600"/>
                    <a:pt x="8950" y="21600"/>
                  </a:cubicBezTo>
                  <a:lnTo>
                    <a:pt x="11986" y="21600"/>
                  </a:lnTo>
                  <a:cubicBezTo>
                    <a:pt x="14640" y="21600"/>
                    <a:pt x="17094" y="20079"/>
                    <a:pt x="18421" y="17612"/>
                  </a:cubicBezTo>
                  <a:lnTo>
                    <a:pt x="19941" y="14788"/>
                  </a:lnTo>
                  <a:cubicBezTo>
                    <a:pt x="21268" y="12321"/>
                    <a:pt x="21268" y="9282"/>
                    <a:pt x="19941" y="6812"/>
                  </a:cubicBezTo>
                  <a:lnTo>
                    <a:pt x="18421" y="3988"/>
                  </a:lnTo>
                  <a:cubicBezTo>
                    <a:pt x="17097" y="1521"/>
                    <a:pt x="14643" y="0"/>
                    <a:pt x="11986" y="0"/>
                  </a:cubicBezTo>
                  <a:close/>
                </a:path>
              </a:pathLst>
            </a:custGeom>
            <a:solidFill>
              <a:srgbClr val="F4F5F5"/>
            </a:solidFill>
            <a:ln w="12700">
              <a:solidFill>
                <a:schemeClr val="bg1">
                  <a:lumMod val="75000"/>
                  <a:alpha val="40000"/>
                </a:schemeClr>
              </a:solidFill>
              <a:miter lim="400000"/>
            </a:ln>
            <a:effectLst>
              <a:outerShdw blurRad="88900" dist="38100" dir="2400000" algn="l" rotWithShape="0">
                <a:prstClr val="black">
                  <a:alpha val="40000"/>
                </a:prstClr>
              </a:outerShdw>
            </a:effectLst>
          </p:spPr>
          <p:txBody>
            <a:bodyPr lIns="135000" tIns="135000" rIns="135000" bIns="135000" anchor="b"/>
            <a:lstStyle/>
            <a:p>
              <a:pPr algn="ctr"/>
              <a:endParaRPr sz="1000">
                <a:solidFill>
                  <a:schemeClr val="tx1">
                    <a:lumMod val="65000"/>
                    <a:lumOff val="35000"/>
                  </a:schemeClr>
                </a:solidFill>
              </a:endParaRPr>
            </a:p>
          </p:txBody>
        </p:sp>
        <p:sp>
          <p:nvSpPr>
            <p:cNvPr id="23" name="Shape">
              <a:extLst>
                <a:ext uri="{FF2B5EF4-FFF2-40B4-BE49-F238E27FC236}">
                  <a16:creationId xmlns:a16="http://schemas.microsoft.com/office/drawing/2014/main" id="{5DD38FC6-86E1-4BB3-B70A-68F6376C3197}"/>
                </a:ext>
              </a:extLst>
            </p:cNvPr>
            <p:cNvSpPr/>
            <p:nvPr/>
          </p:nvSpPr>
          <p:spPr>
            <a:xfrm>
              <a:off x="883647" y="2910289"/>
              <a:ext cx="1065163" cy="1044536"/>
            </a:xfrm>
            <a:custGeom>
              <a:avLst/>
              <a:gdLst/>
              <a:ahLst/>
              <a:cxnLst>
                <a:cxn ang="0">
                  <a:pos x="wd2" y="hd2"/>
                </a:cxn>
                <a:cxn ang="5400000">
                  <a:pos x="wd2" y="hd2"/>
                </a:cxn>
                <a:cxn ang="10800000">
                  <a:pos x="wd2" y="hd2"/>
                </a:cxn>
                <a:cxn ang="16200000">
                  <a:pos x="wd2" y="hd2"/>
                </a:cxn>
              </a:cxnLst>
              <a:rect l="0" t="0" r="r" b="b"/>
              <a:pathLst>
                <a:path w="20808" h="21600" extrusionOk="0">
                  <a:moveTo>
                    <a:pt x="11172" y="0"/>
                  </a:moveTo>
                  <a:lnTo>
                    <a:pt x="9636" y="0"/>
                  </a:lnTo>
                  <a:cubicBezTo>
                    <a:pt x="6468" y="0"/>
                    <a:pt x="3540" y="1791"/>
                    <a:pt x="1956" y="4696"/>
                  </a:cubicBezTo>
                  <a:lnTo>
                    <a:pt x="1188" y="6104"/>
                  </a:lnTo>
                  <a:cubicBezTo>
                    <a:pt x="-396" y="9009"/>
                    <a:pt x="-396" y="12587"/>
                    <a:pt x="1188" y="15496"/>
                  </a:cubicBezTo>
                  <a:lnTo>
                    <a:pt x="1956" y="16904"/>
                  </a:lnTo>
                  <a:cubicBezTo>
                    <a:pt x="3540" y="19809"/>
                    <a:pt x="6468" y="21600"/>
                    <a:pt x="9636" y="21600"/>
                  </a:cubicBezTo>
                  <a:lnTo>
                    <a:pt x="11172" y="21600"/>
                  </a:lnTo>
                  <a:cubicBezTo>
                    <a:pt x="14340" y="21600"/>
                    <a:pt x="17268" y="19809"/>
                    <a:pt x="18852" y="16904"/>
                  </a:cubicBezTo>
                  <a:lnTo>
                    <a:pt x="19620" y="15496"/>
                  </a:lnTo>
                  <a:cubicBezTo>
                    <a:pt x="21204" y="12591"/>
                    <a:pt x="21204" y="9013"/>
                    <a:pt x="19620" y="6104"/>
                  </a:cubicBezTo>
                  <a:lnTo>
                    <a:pt x="18852" y="4696"/>
                  </a:lnTo>
                  <a:cubicBezTo>
                    <a:pt x="17268" y="1791"/>
                    <a:pt x="14340" y="0"/>
                    <a:pt x="11172" y="0"/>
                  </a:cubicBezTo>
                  <a:close/>
                </a:path>
              </a:pathLst>
            </a:custGeom>
            <a:solidFill>
              <a:schemeClr val="accent4"/>
            </a:solidFill>
            <a:ln w="12700">
              <a:miter lim="400000"/>
            </a:ln>
          </p:spPr>
          <p:txBody>
            <a:bodyPr lIns="28575" tIns="28575" rIns="28575" bIns="28575" anchor="ctr"/>
            <a:lstStyle/>
            <a:p>
              <a:pPr algn="ctr">
                <a:defRPr sz="3000">
                  <a:solidFill>
                    <a:srgbClr val="FFFFFF"/>
                  </a:solidFill>
                </a:defRPr>
              </a:pPr>
              <a:r>
                <a:rPr lang="en-GB" sz="2400" b="1" dirty="0"/>
                <a:t>7</a:t>
              </a:r>
              <a:endParaRPr sz="2400" b="1" dirty="0"/>
            </a:p>
          </p:txBody>
        </p:sp>
      </p:grpSp>
    </p:spTree>
    <p:extLst>
      <p:ext uri="{BB962C8B-B14F-4D97-AF65-F5344CB8AC3E}">
        <p14:creationId xmlns:p14="http://schemas.microsoft.com/office/powerpoint/2010/main" val="7805151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0CF06-F67F-46A1-A04D-A878CEED134A}"/>
              </a:ext>
            </a:extLst>
          </p:cNvPr>
          <p:cNvSpPr>
            <a:spLocks noGrp="1"/>
          </p:cNvSpPr>
          <p:nvPr>
            <p:ph type="title"/>
          </p:nvPr>
        </p:nvSpPr>
        <p:spPr/>
        <p:txBody>
          <a:bodyPr>
            <a:normAutofit/>
          </a:bodyPr>
          <a:lstStyle/>
          <a:p>
            <a:r>
              <a:rPr lang="lt-LT"/>
              <a:t>Rekomendacijos programų rengimui ir vykdymui</a:t>
            </a:r>
            <a:endParaRPr lang="en-US"/>
          </a:p>
        </p:txBody>
      </p:sp>
      <p:sp>
        <p:nvSpPr>
          <p:cNvPr id="12" name="Shape">
            <a:extLst>
              <a:ext uri="{FF2B5EF4-FFF2-40B4-BE49-F238E27FC236}">
                <a16:creationId xmlns:a16="http://schemas.microsoft.com/office/drawing/2014/main" id="{2A476A9C-E995-480E-8E94-35DA286ECA22}"/>
              </a:ext>
            </a:extLst>
          </p:cNvPr>
          <p:cNvSpPr/>
          <p:nvPr/>
        </p:nvSpPr>
        <p:spPr>
          <a:xfrm>
            <a:off x="1043630" y="3225924"/>
            <a:ext cx="3024336" cy="2880320"/>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bg1">
              <a:lumMod val="85000"/>
            </a:schemeClr>
          </a:solidFill>
          <a:ln w="12700">
            <a:noFill/>
            <a:miter lim="400000"/>
          </a:ln>
          <a:effectLst/>
        </p:spPr>
        <p:txBody>
          <a:bodyPr lIns="135000" tIns="135000" rIns="135000" bIns="135000" anchor="ctr"/>
          <a:lstStyle/>
          <a:p>
            <a:pPr algn="just">
              <a:defRPr sz="3000">
                <a:solidFill>
                  <a:srgbClr val="FFFFFF"/>
                </a:solidFill>
              </a:defRPr>
            </a:pPr>
            <a:r>
              <a:rPr lang="lt-LT" sz="1050" noProof="1">
                <a:solidFill>
                  <a:srgbClr val="000000"/>
                </a:solidFill>
              </a:rPr>
              <a:t>Siūlytina apsvarstyti papildomo kriterijaus įvedimą akreditacijos taisyklėse, kuris numatytų, kad būtų suteikiami papildomi balai už partnerystės pagrindais parengtas bei vykdomas kvalifikacijos tobulinimo programas.</a:t>
            </a:r>
          </a:p>
        </p:txBody>
      </p:sp>
      <p:sp>
        <p:nvSpPr>
          <p:cNvPr id="18" name="Shape">
            <a:extLst>
              <a:ext uri="{FF2B5EF4-FFF2-40B4-BE49-F238E27FC236}">
                <a16:creationId xmlns:a16="http://schemas.microsoft.com/office/drawing/2014/main" id="{486AEF5D-30F6-4F3A-9A0F-56A8CF84CCF5}"/>
              </a:ext>
            </a:extLst>
          </p:cNvPr>
          <p:cNvSpPr/>
          <p:nvPr/>
        </p:nvSpPr>
        <p:spPr>
          <a:xfrm>
            <a:off x="1043630" y="1268760"/>
            <a:ext cx="3006555" cy="1093068"/>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accent2"/>
          </a:solidFill>
          <a:ln w="12700">
            <a:noFill/>
            <a:miter lim="400000"/>
          </a:ln>
          <a:effectLst/>
        </p:spPr>
        <p:txBody>
          <a:bodyPr lIns="135000" tIns="135000" rIns="135000" bIns="135000" anchor="ctr"/>
          <a:lstStyle/>
          <a:p>
            <a:pPr algn="ctr">
              <a:defRPr sz="3000">
                <a:solidFill>
                  <a:srgbClr val="FFFFFF"/>
                </a:solidFill>
              </a:defRPr>
            </a:pPr>
            <a:r>
              <a:rPr lang="lt-LT" sz="1050" noProof="1">
                <a:solidFill>
                  <a:schemeClr val="bg1"/>
                </a:solidFill>
              </a:rPr>
              <a:t>Reikalinga skatinti programų bendraautorystę</a:t>
            </a:r>
          </a:p>
        </p:txBody>
      </p:sp>
      <p:sp>
        <p:nvSpPr>
          <p:cNvPr id="33" name="Shape">
            <a:extLst>
              <a:ext uri="{FF2B5EF4-FFF2-40B4-BE49-F238E27FC236}">
                <a16:creationId xmlns:a16="http://schemas.microsoft.com/office/drawing/2014/main" id="{CB6C5C18-549F-4AB1-ABC9-FEE125152494}"/>
              </a:ext>
            </a:extLst>
          </p:cNvPr>
          <p:cNvSpPr/>
          <p:nvPr/>
        </p:nvSpPr>
        <p:spPr>
          <a:xfrm>
            <a:off x="5093815" y="3225924"/>
            <a:ext cx="3024336" cy="2880320"/>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bg1">
              <a:lumMod val="85000"/>
            </a:schemeClr>
          </a:solidFill>
          <a:ln w="12700">
            <a:noFill/>
            <a:miter lim="400000"/>
          </a:ln>
          <a:effectLst/>
        </p:spPr>
        <p:txBody>
          <a:bodyPr lIns="135000" tIns="135000" rIns="135000" bIns="135000" anchor="ctr"/>
          <a:lstStyle/>
          <a:p>
            <a:pPr algn="just">
              <a:defRPr sz="3000">
                <a:solidFill>
                  <a:srgbClr val="FFFFFF"/>
                </a:solidFill>
              </a:defRPr>
            </a:pPr>
            <a:r>
              <a:rPr lang="lt-LT" sz="1050" noProof="1">
                <a:solidFill>
                  <a:srgbClr val="000000"/>
                </a:solidFill>
              </a:rPr>
              <a:t>Siekiant aukštosioms mokykloms / pedagogų rengimo centrams suteikti didesnį vaidmenį PKT sistemoje, jiems galėtų būti patikėtos rengti ir vykdyti nacionalinės PKT programos arba / ir šias programas galėtų rengti vykdyti ir kiti PKT teikėjai, tačiau jie privalėtų bendradarbiauti su aukštosiomis mokyklomis / pedagogų rengimo centrais. Taip būtų paskatinamas tarpinstitucinis bendradarbiavimas bei suteikiama išskirtinė funkcija aukštosioms mokykloms / pedagogų rengimo centrams.</a:t>
            </a:r>
          </a:p>
        </p:txBody>
      </p:sp>
      <p:sp>
        <p:nvSpPr>
          <p:cNvPr id="37" name="Shape">
            <a:extLst>
              <a:ext uri="{FF2B5EF4-FFF2-40B4-BE49-F238E27FC236}">
                <a16:creationId xmlns:a16="http://schemas.microsoft.com/office/drawing/2014/main" id="{C74B8469-6B4D-40AE-9FF8-E931DEDE5EFF}"/>
              </a:ext>
            </a:extLst>
          </p:cNvPr>
          <p:cNvSpPr/>
          <p:nvPr/>
        </p:nvSpPr>
        <p:spPr>
          <a:xfrm>
            <a:off x="5093815" y="1268760"/>
            <a:ext cx="3006555" cy="1093068"/>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accent2"/>
          </a:solidFill>
          <a:ln w="12700">
            <a:noFill/>
            <a:miter lim="400000"/>
          </a:ln>
          <a:effectLst/>
        </p:spPr>
        <p:txBody>
          <a:bodyPr lIns="135000" tIns="135000" rIns="135000" bIns="135000" anchor="ctr"/>
          <a:lstStyle/>
          <a:p>
            <a:pPr algn="ctr">
              <a:defRPr sz="3000">
                <a:solidFill>
                  <a:srgbClr val="FFFFFF"/>
                </a:solidFill>
              </a:defRPr>
            </a:pPr>
            <a:r>
              <a:rPr lang="lt-LT" sz="1050" noProof="1">
                <a:solidFill>
                  <a:schemeClr val="bg1"/>
                </a:solidFill>
              </a:rPr>
              <a:t>Rekomenduojama nacionalines PKT programas rengti ir vykdyti aukštosioms mokykloms / pedagogų rengimo centrams arba kitiems PKT teikėjams bendradarbiaujant su aukštosiomis mokykloms / pedagogų rengimo centrais</a:t>
            </a:r>
          </a:p>
        </p:txBody>
      </p:sp>
      <p:grpSp>
        <p:nvGrpSpPr>
          <p:cNvPr id="13" name="Group 12">
            <a:extLst>
              <a:ext uri="{FF2B5EF4-FFF2-40B4-BE49-F238E27FC236}">
                <a16:creationId xmlns:a16="http://schemas.microsoft.com/office/drawing/2014/main" id="{6FF6DCE5-6046-40BF-B824-72ECC9EF7F29}"/>
              </a:ext>
            </a:extLst>
          </p:cNvPr>
          <p:cNvGrpSpPr/>
          <p:nvPr/>
        </p:nvGrpSpPr>
        <p:grpSpPr>
          <a:xfrm>
            <a:off x="1989176" y="2248712"/>
            <a:ext cx="1279083" cy="1229828"/>
            <a:chOff x="776955" y="2821379"/>
            <a:chExt cx="1279083" cy="1229828"/>
          </a:xfrm>
          <a:effectLst/>
        </p:grpSpPr>
        <p:sp>
          <p:nvSpPr>
            <p:cNvPr id="14" name="Shape">
              <a:extLst>
                <a:ext uri="{FF2B5EF4-FFF2-40B4-BE49-F238E27FC236}">
                  <a16:creationId xmlns:a16="http://schemas.microsoft.com/office/drawing/2014/main" id="{E42A5B84-AE5C-4585-B8EF-E6B31FC6462E}"/>
                </a:ext>
              </a:extLst>
            </p:cNvPr>
            <p:cNvSpPr/>
            <p:nvPr/>
          </p:nvSpPr>
          <p:spPr>
            <a:xfrm>
              <a:off x="776955" y="2821379"/>
              <a:ext cx="1279083" cy="1229828"/>
            </a:xfrm>
            <a:custGeom>
              <a:avLst/>
              <a:gdLst/>
              <a:ahLst/>
              <a:cxnLst>
                <a:cxn ang="0">
                  <a:pos x="wd2" y="hd2"/>
                </a:cxn>
                <a:cxn ang="5400000">
                  <a:pos x="wd2" y="hd2"/>
                </a:cxn>
                <a:cxn ang="10800000">
                  <a:pos x="wd2" y="hd2"/>
                </a:cxn>
                <a:cxn ang="16200000">
                  <a:pos x="wd2" y="hd2"/>
                </a:cxn>
              </a:cxnLst>
              <a:rect l="0" t="0" r="r" b="b"/>
              <a:pathLst>
                <a:path w="20936" h="21600" extrusionOk="0">
                  <a:moveTo>
                    <a:pt x="11986" y="0"/>
                  </a:moveTo>
                  <a:lnTo>
                    <a:pt x="8950" y="0"/>
                  </a:lnTo>
                  <a:cubicBezTo>
                    <a:pt x="6296" y="0"/>
                    <a:pt x="3842" y="1521"/>
                    <a:pt x="2515" y="3988"/>
                  </a:cubicBezTo>
                  <a:lnTo>
                    <a:pt x="995" y="6812"/>
                  </a:lnTo>
                  <a:cubicBezTo>
                    <a:pt x="-332" y="9279"/>
                    <a:pt x="-332" y="12318"/>
                    <a:pt x="995" y="14788"/>
                  </a:cubicBezTo>
                  <a:lnTo>
                    <a:pt x="2515" y="17612"/>
                  </a:lnTo>
                  <a:cubicBezTo>
                    <a:pt x="3842" y="20079"/>
                    <a:pt x="6296" y="21600"/>
                    <a:pt x="8950" y="21600"/>
                  </a:cubicBezTo>
                  <a:lnTo>
                    <a:pt x="11986" y="21600"/>
                  </a:lnTo>
                  <a:cubicBezTo>
                    <a:pt x="14640" y="21600"/>
                    <a:pt x="17094" y="20079"/>
                    <a:pt x="18421" y="17612"/>
                  </a:cubicBezTo>
                  <a:lnTo>
                    <a:pt x="19941" y="14788"/>
                  </a:lnTo>
                  <a:cubicBezTo>
                    <a:pt x="21268" y="12321"/>
                    <a:pt x="21268" y="9282"/>
                    <a:pt x="19941" y="6812"/>
                  </a:cubicBezTo>
                  <a:lnTo>
                    <a:pt x="18421" y="3988"/>
                  </a:lnTo>
                  <a:cubicBezTo>
                    <a:pt x="17097" y="1521"/>
                    <a:pt x="14643" y="0"/>
                    <a:pt x="11986" y="0"/>
                  </a:cubicBezTo>
                  <a:close/>
                </a:path>
              </a:pathLst>
            </a:custGeom>
            <a:solidFill>
              <a:srgbClr val="F4F5F5"/>
            </a:solidFill>
            <a:ln w="12700">
              <a:solidFill>
                <a:schemeClr val="bg1">
                  <a:lumMod val="75000"/>
                  <a:alpha val="40000"/>
                </a:schemeClr>
              </a:solidFill>
              <a:miter lim="400000"/>
            </a:ln>
            <a:effectLst>
              <a:outerShdw blurRad="88900" dist="38100" dir="2400000" algn="l" rotWithShape="0">
                <a:prstClr val="black">
                  <a:alpha val="40000"/>
                </a:prstClr>
              </a:outerShdw>
            </a:effectLst>
          </p:spPr>
          <p:txBody>
            <a:bodyPr lIns="135000" tIns="135000" rIns="135000" bIns="135000" anchor="b"/>
            <a:lstStyle/>
            <a:p>
              <a:pPr algn="ctr"/>
              <a:endParaRPr sz="1000">
                <a:solidFill>
                  <a:schemeClr val="tx1">
                    <a:lumMod val="65000"/>
                    <a:lumOff val="35000"/>
                  </a:schemeClr>
                </a:solidFill>
              </a:endParaRPr>
            </a:p>
          </p:txBody>
        </p:sp>
        <p:sp>
          <p:nvSpPr>
            <p:cNvPr id="15" name="Shape">
              <a:extLst>
                <a:ext uri="{FF2B5EF4-FFF2-40B4-BE49-F238E27FC236}">
                  <a16:creationId xmlns:a16="http://schemas.microsoft.com/office/drawing/2014/main" id="{AA16E7A9-E674-486E-B1A1-25482019E52C}"/>
                </a:ext>
              </a:extLst>
            </p:cNvPr>
            <p:cNvSpPr/>
            <p:nvPr/>
          </p:nvSpPr>
          <p:spPr>
            <a:xfrm>
              <a:off x="883647" y="2910289"/>
              <a:ext cx="1065163" cy="1044536"/>
            </a:xfrm>
            <a:custGeom>
              <a:avLst/>
              <a:gdLst/>
              <a:ahLst/>
              <a:cxnLst>
                <a:cxn ang="0">
                  <a:pos x="wd2" y="hd2"/>
                </a:cxn>
                <a:cxn ang="5400000">
                  <a:pos x="wd2" y="hd2"/>
                </a:cxn>
                <a:cxn ang="10800000">
                  <a:pos x="wd2" y="hd2"/>
                </a:cxn>
                <a:cxn ang="16200000">
                  <a:pos x="wd2" y="hd2"/>
                </a:cxn>
              </a:cxnLst>
              <a:rect l="0" t="0" r="r" b="b"/>
              <a:pathLst>
                <a:path w="20808" h="21600" extrusionOk="0">
                  <a:moveTo>
                    <a:pt x="11172" y="0"/>
                  </a:moveTo>
                  <a:lnTo>
                    <a:pt x="9636" y="0"/>
                  </a:lnTo>
                  <a:cubicBezTo>
                    <a:pt x="6468" y="0"/>
                    <a:pt x="3540" y="1791"/>
                    <a:pt x="1956" y="4696"/>
                  </a:cubicBezTo>
                  <a:lnTo>
                    <a:pt x="1188" y="6104"/>
                  </a:lnTo>
                  <a:cubicBezTo>
                    <a:pt x="-396" y="9009"/>
                    <a:pt x="-396" y="12587"/>
                    <a:pt x="1188" y="15496"/>
                  </a:cubicBezTo>
                  <a:lnTo>
                    <a:pt x="1956" y="16904"/>
                  </a:lnTo>
                  <a:cubicBezTo>
                    <a:pt x="3540" y="19809"/>
                    <a:pt x="6468" y="21600"/>
                    <a:pt x="9636" y="21600"/>
                  </a:cubicBezTo>
                  <a:lnTo>
                    <a:pt x="11172" y="21600"/>
                  </a:lnTo>
                  <a:cubicBezTo>
                    <a:pt x="14340" y="21600"/>
                    <a:pt x="17268" y="19809"/>
                    <a:pt x="18852" y="16904"/>
                  </a:cubicBezTo>
                  <a:lnTo>
                    <a:pt x="19620" y="15496"/>
                  </a:lnTo>
                  <a:cubicBezTo>
                    <a:pt x="21204" y="12591"/>
                    <a:pt x="21204" y="9013"/>
                    <a:pt x="19620" y="6104"/>
                  </a:cubicBezTo>
                  <a:lnTo>
                    <a:pt x="18852" y="4696"/>
                  </a:lnTo>
                  <a:cubicBezTo>
                    <a:pt x="17268" y="1791"/>
                    <a:pt x="14340" y="0"/>
                    <a:pt x="11172" y="0"/>
                  </a:cubicBezTo>
                  <a:close/>
                </a:path>
              </a:pathLst>
            </a:custGeom>
            <a:solidFill>
              <a:schemeClr val="accent4"/>
            </a:solidFill>
            <a:ln w="12700">
              <a:miter lim="400000"/>
            </a:ln>
          </p:spPr>
          <p:txBody>
            <a:bodyPr lIns="28575" tIns="28575" rIns="28575" bIns="28575" anchor="ctr"/>
            <a:lstStyle/>
            <a:p>
              <a:pPr algn="ctr">
                <a:defRPr sz="3000">
                  <a:solidFill>
                    <a:srgbClr val="FFFFFF"/>
                  </a:solidFill>
                </a:defRPr>
              </a:pPr>
              <a:r>
                <a:rPr lang="en-GB" sz="2400" b="1" dirty="0"/>
                <a:t>8</a:t>
              </a:r>
              <a:endParaRPr sz="2400" b="1" dirty="0"/>
            </a:p>
          </p:txBody>
        </p:sp>
      </p:grpSp>
      <p:grpSp>
        <p:nvGrpSpPr>
          <p:cNvPr id="34" name="Group 33">
            <a:extLst>
              <a:ext uri="{FF2B5EF4-FFF2-40B4-BE49-F238E27FC236}">
                <a16:creationId xmlns:a16="http://schemas.microsoft.com/office/drawing/2014/main" id="{D609BA43-417E-4757-B706-DD3ACEFBF4BE}"/>
              </a:ext>
            </a:extLst>
          </p:cNvPr>
          <p:cNvGrpSpPr/>
          <p:nvPr/>
        </p:nvGrpSpPr>
        <p:grpSpPr>
          <a:xfrm>
            <a:off x="5875741" y="2252732"/>
            <a:ext cx="1279083" cy="1229828"/>
            <a:chOff x="776955" y="2821379"/>
            <a:chExt cx="1279083" cy="1229828"/>
          </a:xfrm>
          <a:effectLst/>
        </p:grpSpPr>
        <p:sp>
          <p:nvSpPr>
            <p:cNvPr id="35" name="Shape">
              <a:extLst>
                <a:ext uri="{FF2B5EF4-FFF2-40B4-BE49-F238E27FC236}">
                  <a16:creationId xmlns:a16="http://schemas.microsoft.com/office/drawing/2014/main" id="{EFCB7BC9-EA83-4CF3-BB53-2F09B9A88BED}"/>
                </a:ext>
              </a:extLst>
            </p:cNvPr>
            <p:cNvSpPr/>
            <p:nvPr/>
          </p:nvSpPr>
          <p:spPr>
            <a:xfrm>
              <a:off x="776955" y="2821379"/>
              <a:ext cx="1279083" cy="1229828"/>
            </a:xfrm>
            <a:custGeom>
              <a:avLst/>
              <a:gdLst/>
              <a:ahLst/>
              <a:cxnLst>
                <a:cxn ang="0">
                  <a:pos x="wd2" y="hd2"/>
                </a:cxn>
                <a:cxn ang="5400000">
                  <a:pos x="wd2" y="hd2"/>
                </a:cxn>
                <a:cxn ang="10800000">
                  <a:pos x="wd2" y="hd2"/>
                </a:cxn>
                <a:cxn ang="16200000">
                  <a:pos x="wd2" y="hd2"/>
                </a:cxn>
              </a:cxnLst>
              <a:rect l="0" t="0" r="r" b="b"/>
              <a:pathLst>
                <a:path w="20936" h="21600" extrusionOk="0">
                  <a:moveTo>
                    <a:pt x="11986" y="0"/>
                  </a:moveTo>
                  <a:lnTo>
                    <a:pt x="8950" y="0"/>
                  </a:lnTo>
                  <a:cubicBezTo>
                    <a:pt x="6296" y="0"/>
                    <a:pt x="3842" y="1521"/>
                    <a:pt x="2515" y="3988"/>
                  </a:cubicBezTo>
                  <a:lnTo>
                    <a:pt x="995" y="6812"/>
                  </a:lnTo>
                  <a:cubicBezTo>
                    <a:pt x="-332" y="9279"/>
                    <a:pt x="-332" y="12318"/>
                    <a:pt x="995" y="14788"/>
                  </a:cubicBezTo>
                  <a:lnTo>
                    <a:pt x="2515" y="17612"/>
                  </a:lnTo>
                  <a:cubicBezTo>
                    <a:pt x="3842" y="20079"/>
                    <a:pt x="6296" y="21600"/>
                    <a:pt x="8950" y="21600"/>
                  </a:cubicBezTo>
                  <a:lnTo>
                    <a:pt x="11986" y="21600"/>
                  </a:lnTo>
                  <a:cubicBezTo>
                    <a:pt x="14640" y="21600"/>
                    <a:pt x="17094" y="20079"/>
                    <a:pt x="18421" y="17612"/>
                  </a:cubicBezTo>
                  <a:lnTo>
                    <a:pt x="19941" y="14788"/>
                  </a:lnTo>
                  <a:cubicBezTo>
                    <a:pt x="21268" y="12321"/>
                    <a:pt x="21268" y="9282"/>
                    <a:pt x="19941" y="6812"/>
                  </a:cubicBezTo>
                  <a:lnTo>
                    <a:pt x="18421" y="3988"/>
                  </a:lnTo>
                  <a:cubicBezTo>
                    <a:pt x="17097" y="1521"/>
                    <a:pt x="14643" y="0"/>
                    <a:pt x="11986" y="0"/>
                  </a:cubicBezTo>
                  <a:close/>
                </a:path>
              </a:pathLst>
            </a:custGeom>
            <a:solidFill>
              <a:srgbClr val="F4F5F5"/>
            </a:solidFill>
            <a:ln w="12700">
              <a:solidFill>
                <a:schemeClr val="bg1">
                  <a:lumMod val="75000"/>
                  <a:alpha val="40000"/>
                </a:schemeClr>
              </a:solidFill>
              <a:miter lim="400000"/>
            </a:ln>
            <a:effectLst>
              <a:outerShdw blurRad="88900" dist="38100" dir="2400000" algn="l" rotWithShape="0">
                <a:prstClr val="black">
                  <a:alpha val="40000"/>
                </a:prstClr>
              </a:outerShdw>
            </a:effectLst>
          </p:spPr>
          <p:txBody>
            <a:bodyPr lIns="135000" tIns="135000" rIns="135000" bIns="135000" anchor="b"/>
            <a:lstStyle/>
            <a:p>
              <a:pPr algn="ctr"/>
              <a:endParaRPr sz="1000">
                <a:solidFill>
                  <a:schemeClr val="tx1">
                    <a:lumMod val="65000"/>
                    <a:lumOff val="35000"/>
                  </a:schemeClr>
                </a:solidFill>
              </a:endParaRPr>
            </a:p>
          </p:txBody>
        </p:sp>
        <p:sp>
          <p:nvSpPr>
            <p:cNvPr id="36" name="Shape">
              <a:extLst>
                <a:ext uri="{FF2B5EF4-FFF2-40B4-BE49-F238E27FC236}">
                  <a16:creationId xmlns:a16="http://schemas.microsoft.com/office/drawing/2014/main" id="{E8D72F5E-511D-4DDA-8EB8-135528A20D5A}"/>
                </a:ext>
              </a:extLst>
            </p:cNvPr>
            <p:cNvSpPr/>
            <p:nvPr/>
          </p:nvSpPr>
          <p:spPr>
            <a:xfrm>
              <a:off x="883647" y="2910289"/>
              <a:ext cx="1065163" cy="1044536"/>
            </a:xfrm>
            <a:custGeom>
              <a:avLst/>
              <a:gdLst/>
              <a:ahLst/>
              <a:cxnLst>
                <a:cxn ang="0">
                  <a:pos x="wd2" y="hd2"/>
                </a:cxn>
                <a:cxn ang="5400000">
                  <a:pos x="wd2" y="hd2"/>
                </a:cxn>
                <a:cxn ang="10800000">
                  <a:pos x="wd2" y="hd2"/>
                </a:cxn>
                <a:cxn ang="16200000">
                  <a:pos x="wd2" y="hd2"/>
                </a:cxn>
              </a:cxnLst>
              <a:rect l="0" t="0" r="r" b="b"/>
              <a:pathLst>
                <a:path w="20808" h="21600" extrusionOk="0">
                  <a:moveTo>
                    <a:pt x="11172" y="0"/>
                  </a:moveTo>
                  <a:lnTo>
                    <a:pt x="9636" y="0"/>
                  </a:lnTo>
                  <a:cubicBezTo>
                    <a:pt x="6468" y="0"/>
                    <a:pt x="3540" y="1791"/>
                    <a:pt x="1956" y="4696"/>
                  </a:cubicBezTo>
                  <a:lnTo>
                    <a:pt x="1188" y="6104"/>
                  </a:lnTo>
                  <a:cubicBezTo>
                    <a:pt x="-396" y="9009"/>
                    <a:pt x="-396" y="12587"/>
                    <a:pt x="1188" y="15496"/>
                  </a:cubicBezTo>
                  <a:lnTo>
                    <a:pt x="1956" y="16904"/>
                  </a:lnTo>
                  <a:cubicBezTo>
                    <a:pt x="3540" y="19809"/>
                    <a:pt x="6468" y="21600"/>
                    <a:pt x="9636" y="21600"/>
                  </a:cubicBezTo>
                  <a:lnTo>
                    <a:pt x="11172" y="21600"/>
                  </a:lnTo>
                  <a:cubicBezTo>
                    <a:pt x="14340" y="21600"/>
                    <a:pt x="17268" y="19809"/>
                    <a:pt x="18852" y="16904"/>
                  </a:cubicBezTo>
                  <a:lnTo>
                    <a:pt x="19620" y="15496"/>
                  </a:lnTo>
                  <a:cubicBezTo>
                    <a:pt x="21204" y="12591"/>
                    <a:pt x="21204" y="9013"/>
                    <a:pt x="19620" y="6104"/>
                  </a:cubicBezTo>
                  <a:lnTo>
                    <a:pt x="18852" y="4696"/>
                  </a:lnTo>
                  <a:cubicBezTo>
                    <a:pt x="17268" y="1791"/>
                    <a:pt x="14340" y="0"/>
                    <a:pt x="11172" y="0"/>
                  </a:cubicBezTo>
                  <a:close/>
                </a:path>
              </a:pathLst>
            </a:custGeom>
            <a:solidFill>
              <a:schemeClr val="accent4"/>
            </a:solidFill>
            <a:ln w="12700">
              <a:miter lim="400000"/>
            </a:ln>
          </p:spPr>
          <p:txBody>
            <a:bodyPr lIns="28575" tIns="28575" rIns="28575" bIns="28575" anchor="ctr"/>
            <a:lstStyle/>
            <a:p>
              <a:pPr algn="ctr">
                <a:defRPr sz="3000">
                  <a:solidFill>
                    <a:srgbClr val="FFFFFF"/>
                  </a:solidFill>
                </a:defRPr>
              </a:pPr>
              <a:r>
                <a:rPr lang="en-GB" sz="2400" b="1" dirty="0"/>
                <a:t>9</a:t>
              </a:r>
              <a:endParaRPr sz="2400" b="1" dirty="0"/>
            </a:p>
          </p:txBody>
        </p:sp>
      </p:grpSp>
    </p:spTree>
    <p:extLst>
      <p:ext uri="{BB962C8B-B14F-4D97-AF65-F5344CB8AC3E}">
        <p14:creationId xmlns:p14="http://schemas.microsoft.com/office/powerpoint/2010/main" val="28877348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0CF06-F67F-46A1-A04D-A878CEED134A}"/>
              </a:ext>
            </a:extLst>
          </p:cNvPr>
          <p:cNvSpPr>
            <a:spLocks noGrp="1"/>
          </p:cNvSpPr>
          <p:nvPr>
            <p:ph type="title"/>
          </p:nvPr>
        </p:nvSpPr>
        <p:spPr/>
        <p:txBody>
          <a:bodyPr>
            <a:normAutofit/>
          </a:bodyPr>
          <a:lstStyle/>
          <a:p>
            <a:r>
              <a:rPr lang="lt-LT"/>
              <a:t>Rekomendacijos</a:t>
            </a:r>
            <a:r>
              <a:rPr lang="lt-LT" sz="1800"/>
              <a:t> </a:t>
            </a:r>
            <a:r>
              <a:rPr lang="lt-LT"/>
              <a:t>kokybės užtikrinimui</a:t>
            </a:r>
            <a:endParaRPr lang="en-US"/>
          </a:p>
        </p:txBody>
      </p:sp>
      <p:sp>
        <p:nvSpPr>
          <p:cNvPr id="12" name="Shape">
            <a:extLst>
              <a:ext uri="{FF2B5EF4-FFF2-40B4-BE49-F238E27FC236}">
                <a16:creationId xmlns:a16="http://schemas.microsoft.com/office/drawing/2014/main" id="{2A476A9C-E995-480E-8E94-35DA286ECA22}"/>
              </a:ext>
            </a:extLst>
          </p:cNvPr>
          <p:cNvSpPr/>
          <p:nvPr/>
        </p:nvSpPr>
        <p:spPr>
          <a:xfrm>
            <a:off x="329056" y="3212976"/>
            <a:ext cx="2304415" cy="2880320"/>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bg1">
              <a:lumMod val="85000"/>
            </a:schemeClr>
          </a:solidFill>
          <a:ln w="12700">
            <a:noFill/>
            <a:miter lim="400000"/>
          </a:ln>
          <a:effectLst/>
        </p:spPr>
        <p:txBody>
          <a:bodyPr lIns="135000" tIns="135000" rIns="135000" bIns="13500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lt-LT" sz="1050" noProof="1">
                <a:solidFill>
                  <a:srgbClr val="000000"/>
                </a:solidFill>
              </a:rPr>
              <a:t>Nustatyta, kad akreditacijos procesas dar nėra pakankamai griežtas ir užtikrinantis visų akredituotų programų kokybę. Galima svarstyti galimybę į programų akreditavimo komisijas įtraukti aukštųjų mokyklų / pedagogų rengimo centrų atstovus, kurie turi sukaupę reikšmingą patirtį PKT veiklose. </a:t>
            </a:r>
            <a:r>
              <a:rPr lang="en-GB" sz="1050" noProof="1">
                <a:solidFill>
                  <a:srgbClr val="000000"/>
                </a:solidFill>
              </a:rPr>
              <a:t>Taip pat reikalinga </a:t>
            </a:r>
            <a:r>
              <a:rPr lang="lt-LT" sz="1050" noProof="1">
                <a:solidFill>
                  <a:srgbClr val="000000"/>
                </a:solidFill>
              </a:rPr>
              <a:t>užtikrinti sklandžią komunikaciją, kad ugdymo įstaigos suprastų akredituotų programų naudą ir rinkdamiesi veiklas atsižvelgtų, ar paslaugų teikėjų programos yra akredituotos.</a:t>
            </a:r>
          </a:p>
        </p:txBody>
      </p:sp>
      <p:sp>
        <p:nvSpPr>
          <p:cNvPr id="18" name="Shape">
            <a:extLst>
              <a:ext uri="{FF2B5EF4-FFF2-40B4-BE49-F238E27FC236}">
                <a16:creationId xmlns:a16="http://schemas.microsoft.com/office/drawing/2014/main" id="{486AEF5D-30F6-4F3A-9A0F-56A8CF84CCF5}"/>
              </a:ext>
            </a:extLst>
          </p:cNvPr>
          <p:cNvSpPr/>
          <p:nvPr/>
        </p:nvSpPr>
        <p:spPr>
          <a:xfrm>
            <a:off x="290941" y="1052736"/>
            <a:ext cx="2362980" cy="1241212"/>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accent2"/>
          </a:solidFill>
          <a:ln w="12700">
            <a:noFill/>
            <a:miter lim="400000"/>
          </a:ln>
          <a:effectLst/>
        </p:spPr>
        <p:txBody>
          <a:bodyPr lIns="135000" tIns="135000" rIns="135000" bIns="135000" anchor="ctr"/>
          <a:lstStyle/>
          <a:p>
            <a:pPr algn="ctr">
              <a:defRPr sz="3000">
                <a:solidFill>
                  <a:srgbClr val="FFFFFF"/>
                </a:solidFill>
              </a:defRPr>
            </a:pPr>
            <a:r>
              <a:rPr lang="en-GB" sz="1050" noProof="1">
                <a:solidFill>
                  <a:schemeClr val="bg1"/>
                </a:solidFill>
              </a:rPr>
              <a:t>Rekomenduojama </a:t>
            </a:r>
            <a:r>
              <a:rPr lang="lt-LT" sz="1050" noProof="1">
                <a:solidFill>
                  <a:schemeClr val="bg1"/>
                </a:solidFill>
              </a:rPr>
              <a:t>stiprinti programų vertinamą ir akreditavimą</a:t>
            </a:r>
          </a:p>
        </p:txBody>
      </p:sp>
      <p:grpSp>
        <p:nvGrpSpPr>
          <p:cNvPr id="13" name="Group 12">
            <a:extLst>
              <a:ext uri="{FF2B5EF4-FFF2-40B4-BE49-F238E27FC236}">
                <a16:creationId xmlns:a16="http://schemas.microsoft.com/office/drawing/2014/main" id="{6FF6DCE5-6046-40BF-B824-72ECC9EF7F29}"/>
              </a:ext>
            </a:extLst>
          </p:cNvPr>
          <p:cNvGrpSpPr/>
          <p:nvPr/>
        </p:nvGrpSpPr>
        <p:grpSpPr>
          <a:xfrm>
            <a:off x="846201" y="2199172"/>
            <a:ext cx="1279083" cy="1229828"/>
            <a:chOff x="776955" y="2821379"/>
            <a:chExt cx="1279083" cy="1229828"/>
          </a:xfrm>
          <a:effectLst/>
        </p:grpSpPr>
        <p:sp>
          <p:nvSpPr>
            <p:cNvPr id="14" name="Shape">
              <a:extLst>
                <a:ext uri="{FF2B5EF4-FFF2-40B4-BE49-F238E27FC236}">
                  <a16:creationId xmlns:a16="http://schemas.microsoft.com/office/drawing/2014/main" id="{E42A5B84-AE5C-4585-B8EF-E6B31FC6462E}"/>
                </a:ext>
              </a:extLst>
            </p:cNvPr>
            <p:cNvSpPr/>
            <p:nvPr/>
          </p:nvSpPr>
          <p:spPr>
            <a:xfrm>
              <a:off x="776955" y="2821379"/>
              <a:ext cx="1279083" cy="1229828"/>
            </a:xfrm>
            <a:custGeom>
              <a:avLst/>
              <a:gdLst/>
              <a:ahLst/>
              <a:cxnLst>
                <a:cxn ang="0">
                  <a:pos x="wd2" y="hd2"/>
                </a:cxn>
                <a:cxn ang="5400000">
                  <a:pos x="wd2" y="hd2"/>
                </a:cxn>
                <a:cxn ang="10800000">
                  <a:pos x="wd2" y="hd2"/>
                </a:cxn>
                <a:cxn ang="16200000">
                  <a:pos x="wd2" y="hd2"/>
                </a:cxn>
              </a:cxnLst>
              <a:rect l="0" t="0" r="r" b="b"/>
              <a:pathLst>
                <a:path w="20936" h="21600" extrusionOk="0">
                  <a:moveTo>
                    <a:pt x="11986" y="0"/>
                  </a:moveTo>
                  <a:lnTo>
                    <a:pt x="8950" y="0"/>
                  </a:lnTo>
                  <a:cubicBezTo>
                    <a:pt x="6296" y="0"/>
                    <a:pt x="3842" y="1521"/>
                    <a:pt x="2515" y="3988"/>
                  </a:cubicBezTo>
                  <a:lnTo>
                    <a:pt x="995" y="6812"/>
                  </a:lnTo>
                  <a:cubicBezTo>
                    <a:pt x="-332" y="9279"/>
                    <a:pt x="-332" y="12318"/>
                    <a:pt x="995" y="14788"/>
                  </a:cubicBezTo>
                  <a:lnTo>
                    <a:pt x="2515" y="17612"/>
                  </a:lnTo>
                  <a:cubicBezTo>
                    <a:pt x="3842" y="20079"/>
                    <a:pt x="6296" y="21600"/>
                    <a:pt x="8950" y="21600"/>
                  </a:cubicBezTo>
                  <a:lnTo>
                    <a:pt x="11986" y="21600"/>
                  </a:lnTo>
                  <a:cubicBezTo>
                    <a:pt x="14640" y="21600"/>
                    <a:pt x="17094" y="20079"/>
                    <a:pt x="18421" y="17612"/>
                  </a:cubicBezTo>
                  <a:lnTo>
                    <a:pt x="19941" y="14788"/>
                  </a:lnTo>
                  <a:cubicBezTo>
                    <a:pt x="21268" y="12321"/>
                    <a:pt x="21268" y="9282"/>
                    <a:pt x="19941" y="6812"/>
                  </a:cubicBezTo>
                  <a:lnTo>
                    <a:pt x="18421" y="3988"/>
                  </a:lnTo>
                  <a:cubicBezTo>
                    <a:pt x="17097" y="1521"/>
                    <a:pt x="14643" y="0"/>
                    <a:pt x="11986" y="0"/>
                  </a:cubicBezTo>
                  <a:close/>
                </a:path>
              </a:pathLst>
            </a:custGeom>
            <a:solidFill>
              <a:srgbClr val="F4F5F5"/>
            </a:solidFill>
            <a:ln w="12700">
              <a:solidFill>
                <a:schemeClr val="bg1">
                  <a:lumMod val="75000"/>
                  <a:alpha val="40000"/>
                </a:schemeClr>
              </a:solidFill>
              <a:miter lim="400000"/>
            </a:ln>
            <a:effectLst>
              <a:outerShdw blurRad="88900" dist="38100" dir="2400000" algn="l" rotWithShape="0">
                <a:prstClr val="black">
                  <a:alpha val="40000"/>
                </a:prstClr>
              </a:outerShdw>
            </a:effectLst>
          </p:spPr>
          <p:txBody>
            <a:bodyPr lIns="135000" tIns="135000" rIns="135000" bIns="135000" anchor="b"/>
            <a:lstStyle/>
            <a:p>
              <a:pPr algn="ctr"/>
              <a:endParaRPr sz="1000">
                <a:solidFill>
                  <a:schemeClr val="tx1">
                    <a:lumMod val="65000"/>
                    <a:lumOff val="35000"/>
                  </a:schemeClr>
                </a:solidFill>
              </a:endParaRPr>
            </a:p>
          </p:txBody>
        </p:sp>
        <p:sp>
          <p:nvSpPr>
            <p:cNvPr id="15" name="Shape">
              <a:extLst>
                <a:ext uri="{FF2B5EF4-FFF2-40B4-BE49-F238E27FC236}">
                  <a16:creationId xmlns:a16="http://schemas.microsoft.com/office/drawing/2014/main" id="{AA16E7A9-E674-486E-B1A1-25482019E52C}"/>
                </a:ext>
              </a:extLst>
            </p:cNvPr>
            <p:cNvSpPr/>
            <p:nvPr/>
          </p:nvSpPr>
          <p:spPr>
            <a:xfrm>
              <a:off x="883647" y="2910289"/>
              <a:ext cx="1065163" cy="1044536"/>
            </a:xfrm>
            <a:custGeom>
              <a:avLst/>
              <a:gdLst/>
              <a:ahLst/>
              <a:cxnLst>
                <a:cxn ang="0">
                  <a:pos x="wd2" y="hd2"/>
                </a:cxn>
                <a:cxn ang="5400000">
                  <a:pos x="wd2" y="hd2"/>
                </a:cxn>
                <a:cxn ang="10800000">
                  <a:pos x="wd2" y="hd2"/>
                </a:cxn>
                <a:cxn ang="16200000">
                  <a:pos x="wd2" y="hd2"/>
                </a:cxn>
              </a:cxnLst>
              <a:rect l="0" t="0" r="r" b="b"/>
              <a:pathLst>
                <a:path w="20808" h="21600" extrusionOk="0">
                  <a:moveTo>
                    <a:pt x="11172" y="0"/>
                  </a:moveTo>
                  <a:lnTo>
                    <a:pt x="9636" y="0"/>
                  </a:lnTo>
                  <a:cubicBezTo>
                    <a:pt x="6468" y="0"/>
                    <a:pt x="3540" y="1791"/>
                    <a:pt x="1956" y="4696"/>
                  </a:cubicBezTo>
                  <a:lnTo>
                    <a:pt x="1188" y="6104"/>
                  </a:lnTo>
                  <a:cubicBezTo>
                    <a:pt x="-396" y="9009"/>
                    <a:pt x="-396" y="12587"/>
                    <a:pt x="1188" y="15496"/>
                  </a:cubicBezTo>
                  <a:lnTo>
                    <a:pt x="1956" y="16904"/>
                  </a:lnTo>
                  <a:cubicBezTo>
                    <a:pt x="3540" y="19809"/>
                    <a:pt x="6468" y="21600"/>
                    <a:pt x="9636" y="21600"/>
                  </a:cubicBezTo>
                  <a:lnTo>
                    <a:pt x="11172" y="21600"/>
                  </a:lnTo>
                  <a:cubicBezTo>
                    <a:pt x="14340" y="21600"/>
                    <a:pt x="17268" y="19809"/>
                    <a:pt x="18852" y="16904"/>
                  </a:cubicBezTo>
                  <a:lnTo>
                    <a:pt x="19620" y="15496"/>
                  </a:lnTo>
                  <a:cubicBezTo>
                    <a:pt x="21204" y="12591"/>
                    <a:pt x="21204" y="9013"/>
                    <a:pt x="19620" y="6104"/>
                  </a:cubicBezTo>
                  <a:lnTo>
                    <a:pt x="18852" y="4696"/>
                  </a:lnTo>
                  <a:cubicBezTo>
                    <a:pt x="17268" y="1791"/>
                    <a:pt x="14340" y="0"/>
                    <a:pt x="11172" y="0"/>
                  </a:cubicBezTo>
                  <a:close/>
                </a:path>
              </a:pathLst>
            </a:custGeom>
            <a:solidFill>
              <a:schemeClr val="accent4"/>
            </a:solidFill>
            <a:ln w="12700">
              <a:miter lim="400000"/>
            </a:ln>
          </p:spPr>
          <p:txBody>
            <a:bodyPr lIns="28575" tIns="28575" rIns="28575" bIns="28575" anchor="ctr"/>
            <a:lstStyle/>
            <a:p>
              <a:pPr algn="ctr">
                <a:defRPr sz="3000">
                  <a:solidFill>
                    <a:srgbClr val="FFFFFF"/>
                  </a:solidFill>
                </a:defRPr>
              </a:pPr>
              <a:r>
                <a:rPr lang="en-GB" sz="2400" b="1" dirty="0"/>
                <a:t>10</a:t>
              </a:r>
              <a:endParaRPr sz="2400" b="1" dirty="0"/>
            </a:p>
          </p:txBody>
        </p:sp>
      </p:grpSp>
      <p:sp>
        <p:nvSpPr>
          <p:cNvPr id="26" name="Shape">
            <a:extLst>
              <a:ext uri="{FF2B5EF4-FFF2-40B4-BE49-F238E27FC236}">
                <a16:creationId xmlns:a16="http://schemas.microsoft.com/office/drawing/2014/main" id="{722EA8F6-C8B4-48DE-BA79-3C656088570A}"/>
              </a:ext>
            </a:extLst>
          </p:cNvPr>
          <p:cNvSpPr/>
          <p:nvPr/>
        </p:nvSpPr>
        <p:spPr>
          <a:xfrm>
            <a:off x="3188732" y="3219072"/>
            <a:ext cx="2764012" cy="2880320"/>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bg1">
              <a:lumMod val="85000"/>
            </a:schemeClr>
          </a:solidFill>
          <a:ln w="12700">
            <a:noFill/>
            <a:miter lim="400000"/>
          </a:ln>
          <a:effectLst/>
        </p:spPr>
        <p:txBody>
          <a:bodyPr lIns="135000" tIns="135000" rIns="135000" bIns="13500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lt-LT" sz="1050" noProof="1">
                <a:solidFill>
                  <a:srgbClr val="000000"/>
                </a:solidFill>
              </a:rPr>
              <a:t>NŠA galėtų akredituoti nacionalines PKT programas. Taip būtų užtikrinamas nešališkas ir vieningas PKT programų akreditavimo procesas. Taip pat būtų atskiriamos PKT programų rengimo ir akreditavimo funkcijos, padalinant šias atsakomybes tarp skirtingų institucijų (nacionalines PKT programas rengtų aukštosios mokyklos / pedagogų rengimo centrai arba / ir kiti PKT teikėjai, bendradarbiaudami su aukštosiomis mokyklomis / pedagogų rengimo centrais. NŠA atsakomybėje būtų nacionalinių PKT programų akreditavimas. Žr. 9 rekomendaciją).</a:t>
            </a:r>
          </a:p>
        </p:txBody>
      </p:sp>
      <p:sp>
        <p:nvSpPr>
          <p:cNvPr id="27" name="Shape">
            <a:extLst>
              <a:ext uri="{FF2B5EF4-FFF2-40B4-BE49-F238E27FC236}">
                <a16:creationId xmlns:a16="http://schemas.microsoft.com/office/drawing/2014/main" id="{5560308A-5C89-4EE7-B4E7-0A71020037AE}"/>
              </a:ext>
            </a:extLst>
          </p:cNvPr>
          <p:cNvSpPr/>
          <p:nvPr/>
        </p:nvSpPr>
        <p:spPr>
          <a:xfrm>
            <a:off x="3143893" y="1058832"/>
            <a:ext cx="2834258" cy="1241212"/>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accent2"/>
          </a:solidFill>
          <a:ln w="12700">
            <a:noFill/>
            <a:miter lim="400000"/>
          </a:ln>
          <a:effectLst/>
        </p:spPr>
        <p:txBody>
          <a:bodyPr lIns="135000" tIns="135000" rIns="135000" bIns="135000" anchor="ctr"/>
          <a:lstStyle/>
          <a:p>
            <a:pPr algn="ctr">
              <a:defRPr sz="3000">
                <a:solidFill>
                  <a:srgbClr val="FFFFFF"/>
                </a:solidFill>
              </a:defRPr>
            </a:pPr>
            <a:r>
              <a:rPr lang="en-GB" sz="1050" noProof="1">
                <a:solidFill>
                  <a:schemeClr val="bg1"/>
                </a:solidFill>
              </a:rPr>
              <a:t>Nacionalini</a:t>
            </a:r>
            <a:r>
              <a:rPr lang="lt-LT" sz="1050" noProof="1">
                <a:solidFill>
                  <a:schemeClr val="bg1"/>
                </a:solidFill>
              </a:rPr>
              <a:t>ų PKT programų kokybės užtikrinimo sistema galėtų būti sutelkta NŠA atsakomybėje</a:t>
            </a:r>
          </a:p>
        </p:txBody>
      </p:sp>
      <p:grpSp>
        <p:nvGrpSpPr>
          <p:cNvPr id="28" name="Group 27">
            <a:extLst>
              <a:ext uri="{FF2B5EF4-FFF2-40B4-BE49-F238E27FC236}">
                <a16:creationId xmlns:a16="http://schemas.microsoft.com/office/drawing/2014/main" id="{B40FD4F6-0E28-4B15-AE62-07DD821BA33B}"/>
              </a:ext>
            </a:extLst>
          </p:cNvPr>
          <p:cNvGrpSpPr/>
          <p:nvPr/>
        </p:nvGrpSpPr>
        <p:grpSpPr>
          <a:xfrm>
            <a:off x="3970401" y="2205268"/>
            <a:ext cx="1279083" cy="1229828"/>
            <a:chOff x="776955" y="2821379"/>
            <a:chExt cx="1279083" cy="1229828"/>
          </a:xfrm>
          <a:effectLst/>
        </p:grpSpPr>
        <p:sp>
          <p:nvSpPr>
            <p:cNvPr id="29" name="Shape">
              <a:extLst>
                <a:ext uri="{FF2B5EF4-FFF2-40B4-BE49-F238E27FC236}">
                  <a16:creationId xmlns:a16="http://schemas.microsoft.com/office/drawing/2014/main" id="{B3B45C1B-F9E4-4EDB-B527-B65A757C32E4}"/>
                </a:ext>
              </a:extLst>
            </p:cNvPr>
            <p:cNvSpPr/>
            <p:nvPr/>
          </p:nvSpPr>
          <p:spPr>
            <a:xfrm>
              <a:off x="776955" y="2821379"/>
              <a:ext cx="1279083" cy="1229828"/>
            </a:xfrm>
            <a:custGeom>
              <a:avLst/>
              <a:gdLst/>
              <a:ahLst/>
              <a:cxnLst>
                <a:cxn ang="0">
                  <a:pos x="wd2" y="hd2"/>
                </a:cxn>
                <a:cxn ang="5400000">
                  <a:pos x="wd2" y="hd2"/>
                </a:cxn>
                <a:cxn ang="10800000">
                  <a:pos x="wd2" y="hd2"/>
                </a:cxn>
                <a:cxn ang="16200000">
                  <a:pos x="wd2" y="hd2"/>
                </a:cxn>
              </a:cxnLst>
              <a:rect l="0" t="0" r="r" b="b"/>
              <a:pathLst>
                <a:path w="20936" h="21600" extrusionOk="0">
                  <a:moveTo>
                    <a:pt x="11986" y="0"/>
                  </a:moveTo>
                  <a:lnTo>
                    <a:pt x="8950" y="0"/>
                  </a:lnTo>
                  <a:cubicBezTo>
                    <a:pt x="6296" y="0"/>
                    <a:pt x="3842" y="1521"/>
                    <a:pt x="2515" y="3988"/>
                  </a:cubicBezTo>
                  <a:lnTo>
                    <a:pt x="995" y="6812"/>
                  </a:lnTo>
                  <a:cubicBezTo>
                    <a:pt x="-332" y="9279"/>
                    <a:pt x="-332" y="12318"/>
                    <a:pt x="995" y="14788"/>
                  </a:cubicBezTo>
                  <a:lnTo>
                    <a:pt x="2515" y="17612"/>
                  </a:lnTo>
                  <a:cubicBezTo>
                    <a:pt x="3842" y="20079"/>
                    <a:pt x="6296" y="21600"/>
                    <a:pt x="8950" y="21600"/>
                  </a:cubicBezTo>
                  <a:lnTo>
                    <a:pt x="11986" y="21600"/>
                  </a:lnTo>
                  <a:cubicBezTo>
                    <a:pt x="14640" y="21600"/>
                    <a:pt x="17094" y="20079"/>
                    <a:pt x="18421" y="17612"/>
                  </a:cubicBezTo>
                  <a:lnTo>
                    <a:pt x="19941" y="14788"/>
                  </a:lnTo>
                  <a:cubicBezTo>
                    <a:pt x="21268" y="12321"/>
                    <a:pt x="21268" y="9282"/>
                    <a:pt x="19941" y="6812"/>
                  </a:cubicBezTo>
                  <a:lnTo>
                    <a:pt x="18421" y="3988"/>
                  </a:lnTo>
                  <a:cubicBezTo>
                    <a:pt x="17097" y="1521"/>
                    <a:pt x="14643" y="0"/>
                    <a:pt x="11986" y="0"/>
                  </a:cubicBezTo>
                  <a:close/>
                </a:path>
              </a:pathLst>
            </a:custGeom>
            <a:solidFill>
              <a:srgbClr val="F4F5F5"/>
            </a:solidFill>
            <a:ln w="12700">
              <a:solidFill>
                <a:schemeClr val="bg1">
                  <a:lumMod val="75000"/>
                  <a:alpha val="40000"/>
                </a:schemeClr>
              </a:solidFill>
              <a:miter lim="400000"/>
            </a:ln>
            <a:effectLst>
              <a:outerShdw blurRad="88900" dist="38100" dir="2400000" algn="l" rotWithShape="0">
                <a:prstClr val="black">
                  <a:alpha val="40000"/>
                </a:prstClr>
              </a:outerShdw>
            </a:effectLst>
          </p:spPr>
          <p:txBody>
            <a:bodyPr lIns="135000" tIns="135000" rIns="135000" bIns="135000" anchor="b"/>
            <a:lstStyle/>
            <a:p>
              <a:pPr algn="ctr"/>
              <a:endParaRPr sz="1000">
                <a:solidFill>
                  <a:schemeClr val="tx1">
                    <a:lumMod val="65000"/>
                    <a:lumOff val="35000"/>
                  </a:schemeClr>
                </a:solidFill>
              </a:endParaRPr>
            </a:p>
          </p:txBody>
        </p:sp>
        <p:sp>
          <p:nvSpPr>
            <p:cNvPr id="30" name="Shape">
              <a:extLst>
                <a:ext uri="{FF2B5EF4-FFF2-40B4-BE49-F238E27FC236}">
                  <a16:creationId xmlns:a16="http://schemas.microsoft.com/office/drawing/2014/main" id="{532DEFF4-87ED-4066-A6DC-B925EC1C587C}"/>
                </a:ext>
              </a:extLst>
            </p:cNvPr>
            <p:cNvSpPr/>
            <p:nvPr/>
          </p:nvSpPr>
          <p:spPr>
            <a:xfrm>
              <a:off x="883647" y="2910289"/>
              <a:ext cx="1065163" cy="1044536"/>
            </a:xfrm>
            <a:custGeom>
              <a:avLst/>
              <a:gdLst/>
              <a:ahLst/>
              <a:cxnLst>
                <a:cxn ang="0">
                  <a:pos x="wd2" y="hd2"/>
                </a:cxn>
                <a:cxn ang="5400000">
                  <a:pos x="wd2" y="hd2"/>
                </a:cxn>
                <a:cxn ang="10800000">
                  <a:pos x="wd2" y="hd2"/>
                </a:cxn>
                <a:cxn ang="16200000">
                  <a:pos x="wd2" y="hd2"/>
                </a:cxn>
              </a:cxnLst>
              <a:rect l="0" t="0" r="r" b="b"/>
              <a:pathLst>
                <a:path w="20808" h="21600" extrusionOk="0">
                  <a:moveTo>
                    <a:pt x="11172" y="0"/>
                  </a:moveTo>
                  <a:lnTo>
                    <a:pt x="9636" y="0"/>
                  </a:lnTo>
                  <a:cubicBezTo>
                    <a:pt x="6468" y="0"/>
                    <a:pt x="3540" y="1791"/>
                    <a:pt x="1956" y="4696"/>
                  </a:cubicBezTo>
                  <a:lnTo>
                    <a:pt x="1188" y="6104"/>
                  </a:lnTo>
                  <a:cubicBezTo>
                    <a:pt x="-396" y="9009"/>
                    <a:pt x="-396" y="12587"/>
                    <a:pt x="1188" y="15496"/>
                  </a:cubicBezTo>
                  <a:lnTo>
                    <a:pt x="1956" y="16904"/>
                  </a:lnTo>
                  <a:cubicBezTo>
                    <a:pt x="3540" y="19809"/>
                    <a:pt x="6468" y="21600"/>
                    <a:pt x="9636" y="21600"/>
                  </a:cubicBezTo>
                  <a:lnTo>
                    <a:pt x="11172" y="21600"/>
                  </a:lnTo>
                  <a:cubicBezTo>
                    <a:pt x="14340" y="21600"/>
                    <a:pt x="17268" y="19809"/>
                    <a:pt x="18852" y="16904"/>
                  </a:cubicBezTo>
                  <a:lnTo>
                    <a:pt x="19620" y="15496"/>
                  </a:lnTo>
                  <a:cubicBezTo>
                    <a:pt x="21204" y="12591"/>
                    <a:pt x="21204" y="9013"/>
                    <a:pt x="19620" y="6104"/>
                  </a:cubicBezTo>
                  <a:lnTo>
                    <a:pt x="18852" y="4696"/>
                  </a:lnTo>
                  <a:cubicBezTo>
                    <a:pt x="17268" y="1791"/>
                    <a:pt x="14340" y="0"/>
                    <a:pt x="11172" y="0"/>
                  </a:cubicBezTo>
                  <a:close/>
                </a:path>
              </a:pathLst>
            </a:custGeom>
            <a:solidFill>
              <a:schemeClr val="accent4"/>
            </a:solidFill>
            <a:ln w="12700">
              <a:miter lim="400000"/>
            </a:ln>
          </p:spPr>
          <p:txBody>
            <a:bodyPr lIns="28575" tIns="28575" rIns="28575" bIns="28575" anchor="ctr"/>
            <a:lstStyle/>
            <a:p>
              <a:pPr algn="ctr">
                <a:defRPr sz="3000">
                  <a:solidFill>
                    <a:srgbClr val="FFFFFF"/>
                  </a:solidFill>
                </a:defRPr>
              </a:pPr>
              <a:r>
                <a:rPr lang="en-GB" sz="2400" b="1" dirty="0"/>
                <a:t>11</a:t>
              </a:r>
              <a:endParaRPr sz="2400" b="1" dirty="0"/>
            </a:p>
          </p:txBody>
        </p:sp>
      </p:grpSp>
      <p:sp>
        <p:nvSpPr>
          <p:cNvPr id="31" name="Shape">
            <a:extLst>
              <a:ext uri="{FF2B5EF4-FFF2-40B4-BE49-F238E27FC236}">
                <a16:creationId xmlns:a16="http://schemas.microsoft.com/office/drawing/2014/main" id="{813F4DF8-D90B-4BC2-83DB-4718B57AF455}"/>
              </a:ext>
            </a:extLst>
          </p:cNvPr>
          <p:cNvSpPr/>
          <p:nvPr/>
        </p:nvSpPr>
        <p:spPr>
          <a:xfrm>
            <a:off x="6507352" y="3209928"/>
            <a:ext cx="2304415" cy="2880320"/>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bg1">
              <a:lumMod val="85000"/>
            </a:schemeClr>
          </a:solidFill>
          <a:ln w="12700">
            <a:noFill/>
            <a:miter lim="400000"/>
          </a:ln>
          <a:effectLst/>
        </p:spPr>
        <p:txBody>
          <a:bodyPr lIns="135000" tIns="135000" rIns="135000" bIns="13500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lt-LT" sz="1050" noProof="1">
                <a:solidFill>
                  <a:srgbClr val="000000"/>
                </a:solidFill>
              </a:rPr>
              <a:t>Galima akredituotas PKT programas konvertuoti į kreditus atsižvelgiant į jų trukmę ir, pavyzdžiui, panaudoti šiuos kreditus pedagoginio magistro laipsnio įgijimui. Taip būtų sukurtos ir papildomos paskatos rinktis tik kokybiškas, akredituotas programas, kur pagrindinis tokių paslaugų teikėjas yra aukštosios mokyklos / pedagogų rengimo centrai. </a:t>
            </a:r>
          </a:p>
        </p:txBody>
      </p:sp>
      <p:sp>
        <p:nvSpPr>
          <p:cNvPr id="32" name="Shape">
            <a:extLst>
              <a:ext uri="{FF2B5EF4-FFF2-40B4-BE49-F238E27FC236}">
                <a16:creationId xmlns:a16="http://schemas.microsoft.com/office/drawing/2014/main" id="{2E0B77F9-384F-4261-B77E-60812A6142C7}"/>
              </a:ext>
            </a:extLst>
          </p:cNvPr>
          <p:cNvSpPr/>
          <p:nvPr/>
        </p:nvSpPr>
        <p:spPr>
          <a:xfrm>
            <a:off x="6469237" y="1049688"/>
            <a:ext cx="2362980" cy="1241212"/>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accent2"/>
          </a:solidFill>
          <a:ln w="12700">
            <a:noFill/>
            <a:miter lim="400000"/>
          </a:ln>
          <a:effectLst/>
        </p:spPr>
        <p:txBody>
          <a:bodyPr lIns="135000" tIns="135000" rIns="135000" bIns="135000" anchor="ctr"/>
          <a:lstStyle/>
          <a:p>
            <a:pPr algn="ctr">
              <a:defRPr sz="3000">
                <a:solidFill>
                  <a:srgbClr val="FFFFFF"/>
                </a:solidFill>
              </a:defRPr>
            </a:pPr>
            <a:r>
              <a:rPr lang="en-GB" sz="1050" noProof="1">
                <a:solidFill>
                  <a:schemeClr val="bg1"/>
                </a:solidFill>
              </a:rPr>
              <a:t>Rekomenduojama akredituotus PKT programas prilyginti kreditams</a:t>
            </a:r>
            <a:endParaRPr lang="lt-LT" sz="1050" noProof="1">
              <a:solidFill>
                <a:schemeClr val="bg1"/>
              </a:solidFill>
            </a:endParaRPr>
          </a:p>
        </p:txBody>
      </p:sp>
      <p:grpSp>
        <p:nvGrpSpPr>
          <p:cNvPr id="38" name="Group 37">
            <a:extLst>
              <a:ext uri="{FF2B5EF4-FFF2-40B4-BE49-F238E27FC236}">
                <a16:creationId xmlns:a16="http://schemas.microsoft.com/office/drawing/2014/main" id="{01D73C7C-3097-473D-BC56-084681BF847D}"/>
              </a:ext>
            </a:extLst>
          </p:cNvPr>
          <p:cNvGrpSpPr/>
          <p:nvPr/>
        </p:nvGrpSpPr>
        <p:grpSpPr>
          <a:xfrm>
            <a:off x="7024497" y="2196124"/>
            <a:ext cx="1279083" cy="1229828"/>
            <a:chOff x="776955" y="2821379"/>
            <a:chExt cx="1279083" cy="1229828"/>
          </a:xfrm>
          <a:effectLst/>
        </p:grpSpPr>
        <p:sp>
          <p:nvSpPr>
            <p:cNvPr id="44" name="Shape">
              <a:extLst>
                <a:ext uri="{FF2B5EF4-FFF2-40B4-BE49-F238E27FC236}">
                  <a16:creationId xmlns:a16="http://schemas.microsoft.com/office/drawing/2014/main" id="{79475936-296E-4A89-B1EF-48875BC4B632}"/>
                </a:ext>
              </a:extLst>
            </p:cNvPr>
            <p:cNvSpPr/>
            <p:nvPr/>
          </p:nvSpPr>
          <p:spPr>
            <a:xfrm>
              <a:off x="776955" y="2821379"/>
              <a:ext cx="1279083" cy="1229828"/>
            </a:xfrm>
            <a:custGeom>
              <a:avLst/>
              <a:gdLst/>
              <a:ahLst/>
              <a:cxnLst>
                <a:cxn ang="0">
                  <a:pos x="wd2" y="hd2"/>
                </a:cxn>
                <a:cxn ang="5400000">
                  <a:pos x="wd2" y="hd2"/>
                </a:cxn>
                <a:cxn ang="10800000">
                  <a:pos x="wd2" y="hd2"/>
                </a:cxn>
                <a:cxn ang="16200000">
                  <a:pos x="wd2" y="hd2"/>
                </a:cxn>
              </a:cxnLst>
              <a:rect l="0" t="0" r="r" b="b"/>
              <a:pathLst>
                <a:path w="20936" h="21600" extrusionOk="0">
                  <a:moveTo>
                    <a:pt x="11986" y="0"/>
                  </a:moveTo>
                  <a:lnTo>
                    <a:pt x="8950" y="0"/>
                  </a:lnTo>
                  <a:cubicBezTo>
                    <a:pt x="6296" y="0"/>
                    <a:pt x="3842" y="1521"/>
                    <a:pt x="2515" y="3988"/>
                  </a:cubicBezTo>
                  <a:lnTo>
                    <a:pt x="995" y="6812"/>
                  </a:lnTo>
                  <a:cubicBezTo>
                    <a:pt x="-332" y="9279"/>
                    <a:pt x="-332" y="12318"/>
                    <a:pt x="995" y="14788"/>
                  </a:cubicBezTo>
                  <a:lnTo>
                    <a:pt x="2515" y="17612"/>
                  </a:lnTo>
                  <a:cubicBezTo>
                    <a:pt x="3842" y="20079"/>
                    <a:pt x="6296" y="21600"/>
                    <a:pt x="8950" y="21600"/>
                  </a:cubicBezTo>
                  <a:lnTo>
                    <a:pt x="11986" y="21600"/>
                  </a:lnTo>
                  <a:cubicBezTo>
                    <a:pt x="14640" y="21600"/>
                    <a:pt x="17094" y="20079"/>
                    <a:pt x="18421" y="17612"/>
                  </a:cubicBezTo>
                  <a:lnTo>
                    <a:pt x="19941" y="14788"/>
                  </a:lnTo>
                  <a:cubicBezTo>
                    <a:pt x="21268" y="12321"/>
                    <a:pt x="21268" y="9282"/>
                    <a:pt x="19941" y="6812"/>
                  </a:cubicBezTo>
                  <a:lnTo>
                    <a:pt x="18421" y="3988"/>
                  </a:lnTo>
                  <a:cubicBezTo>
                    <a:pt x="17097" y="1521"/>
                    <a:pt x="14643" y="0"/>
                    <a:pt x="11986" y="0"/>
                  </a:cubicBezTo>
                  <a:close/>
                </a:path>
              </a:pathLst>
            </a:custGeom>
            <a:solidFill>
              <a:srgbClr val="F4F5F5"/>
            </a:solidFill>
            <a:ln w="12700">
              <a:solidFill>
                <a:schemeClr val="bg1">
                  <a:lumMod val="75000"/>
                  <a:alpha val="40000"/>
                </a:schemeClr>
              </a:solidFill>
              <a:miter lim="400000"/>
            </a:ln>
            <a:effectLst>
              <a:outerShdw blurRad="88900" dist="38100" dir="2400000" algn="l" rotWithShape="0">
                <a:prstClr val="black">
                  <a:alpha val="40000"/>
                </a:prstClr>
              </a:outerShdw>
            </a:effectLst>
          </p:spPr>
          <p:txBody>
            <a:bodyPr lIns="135000" tIns="135000" rIns="135000" bIns="135000" anchor="b"/>
            <a:lstStyle/>
            <a:p>
              <a:pPr algn="ctr"/>
              <a:endParaRPr sz="1000">
                <a:solidFill>
                  <a:schemeClr val="tx1">
                    <a:lumMod val="65000"/>
                    <a:lumOff val="35000"/>
                  </a:schemeClr>
                </a:solidFill>
              </a:endParaRPr>
            </a:p>
          </p:txBody>
        </p:sp>
        <p:sp>
          <p:nvSpPr>
            <p:cNvPr id="45" name="Shape">
              <a:extLst>
                <a:ext uri="{FF2B5EF4-FFF2-40B4-BE49-F238E27FC236}">
                  <a16:creationId xmlns:a16="http://schemas.microsoft.com/office/drawing/2014/main" id="{64435DCF-CE56-4DA5-B248-F73A501933C7}"/>
                </a:ext>
              </a:extLst>
            </p:cNvPr>
            <p:cNvSpPr/>
            <p:nvPr/>
          </p:nvSpPr>
          <p:spPr>
            <a:xfrm>
              <a:off x="883647" y="2910289"/>
              <a:ext cx="1065163" cy="1044536"/>
            </a:xfrm>
            <a:custGeom>
              <a:avLst/>
              <a:gdLst/>
              <a:ahLst/>
              <a:cxnLst>
                <a:cxn ang="0">
                  <a:pos x="wd2" y="hd2"/>
                </a:cxn>
                <a:cxn ang="5400000">
                  <a:pos x="wd2" y="hd2"/>
                </a:cxn>
                <a:cxn ang="10800000">
                  <a:pos x="wd2" y="hd2"/>
                </a:cxn>
                <a:cxn ang="16200000">
                  <a:pos x="wd2" y="hd2"/>
                </a:cxn>
              </a:cxnLst>
              <a:rect l="0" t="0" r="r" b="b"/>
              <a:pathLst>
                <a:path w="20808" h="21600" extrusionOk="0">
                  <a:moveTo>
                    <a:pt x="11172" y="0"/>
                  </a:moveTo>
                  <a:lnTo>
                    <a:pt x="9636" y="0"/>
                  </a:lnTo>
                  <a:cubicBezTo>
                    <a:pt x="6468" y="0"/>
                    <a:pt x="3540" y="1791"/>
                    <a:pt x="1956" y="4696"/>
                  </a:cubicBezTo>
                  <a:lnTo>
                    <a:pt x="1188" y="6104"/>
                  </a:lnTo>
                  <a:cubicBezTo>
                    <a:pt x="-396" y="9009"/>
                    <a:pt x="-396" y="12587"/>
                    <a:pt x="1188" y="15496"/>
                  </a:cubicBezTo>
                  <a:lnTo>
                    <a:pt x="1956" y="16904"/>
                  </a:lnTo>
                  <a:cubicBezTo>
                    <a:pt x="3540" y="19809"/>
                    <a:pt x="6468" y="21600"/>
                    <a:pt x="9636" y="21600"/>
                  </a:cubicBezTo>
                  <a:lnTo>
                    <a:pt x="11172" y="21600"/>
                  </a:lnTo>
                  <a:cubicBezTo>
                    <a:pt x="14340" y="21600"/>
                    <a:pt x="17268" y="19809"/>
                    <a:pt x="18852" y="16904"/>
                  </a:cubicBezTo>
                  <a:lnTo>
                    <a:pt x="19620" y="15496"/>
                  </a:lnTo>
                  <a:cubicBezTo>
                    <a:pt x="21204" y="12591"/>
                    <a:pt x="21204" y="9013"/>
                    <a:pt x="19620" y="6104"/>
                  </a:cubicBezTo>
                  <a:lnTo>
                    <a:pt x="18852" y="4696"/>
                  </a:lnTo>
                  <a:cubicBezTo>
                    <a:pt x="17268" y="1791"/>
                    <a:pt x="14340" y="0"/>
                    <a:pt x="11172" y="0"/>
                  </a:cubicBezTo>
                  <a:close/>
                </a:path>
              </a:pathLst>
            </a:custGeom>
            <a:solidFill>
              <a:schemeClr val="accent4"/>
            </a:solidFill>
            <a:ln w="12700">
              <a:miter lim="400000"/>
            </a:ln>
          </p:spPr>
          <p:txBody>
            <a:bodyPr lIns="28575" tIns="28575" rIns="28575" bIns="28575" anchor="ctr"/>
            <a:lstStyle/>
            <a:p>
              <a:pPr algn="ctr">
                <a:defRPr sz="3000">
                  <a:solidFill>
                    <a:srgbClr val="FFFFFF"/>
                  </a:solidFill>
                </a:defRPr>
              </a:pPr>
              <a:r>
                <a:rPr lang="en-GB" sz="2400" b="1" dirty="0"/>
                <a:t>12</a:t>
              </a:r>
              <a:endParaRPr sz="2400" b="1" dirty="0"/>
            </a:p>
          </p:txBody>
        </p:sp>
      </p:grpSp>
    </p:spTree>
    <p:extLst>
      <p:ext uri="{BB962C8B-B14F-4D97-AF65-F5344CB8AC3E}">
        <p14:creationId xmlns:p14="http://schemas.microsoft.com/office/powerpoint/2010/main" val="39293397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0CF06-F67F-46A1-A04D-A878CEED134A}"/>
              </a:ext>
            </a:extLst>
          </p:cNvPr>
          <p:cNvSpPr>
            <a:spLocks noGrp="1"/>
          </p:cNvSpPr>
          <p:nvPr>
            <p:ph type="title"/>
          </p:nvPr>
        </p:nvSpPr>
        <p:spPr/>
        <p:txBody>
          <a:bodyPr>
            <a:normAutofit/>
          </a:bodyPr>
          <a:lstStyle/>
          <a:p>
            <a:r>
              <a:rPr lang="lt-LT"/>
              <a:t>Rekomendacijos</a:t>
            </a:r>
            <a:r>
              <a:rPr lang="lt-LT" sz="1800"/>
              <a:t> </a:t>
            </a:r>
            <a:r>
              <a:rPr lang="lt-LT"/>
              <a:t>stebėsenai</a:t>
            </a:r>
            <a:endParaRPr lang="en-US"/>
          </a:p>
        </p:txBody>
      </p:sp>
      <p:sp>
        <p:nvSpPr>
          <p:cNvPr id="12" name="Shape">
            <a:extLst>
              <a:ext uri="{FF2B5EF4-FFF2-40B4-BE49-F238E27FC236}">
                <a16:creationId xmlns:a16="http://schemas.microsoft.com/office/drawing/2014/main" id="{2A476A9C-E995-480E-8E94-35DA286ECA22}"/>
              </a:ext>
            </a:extLst>
          </p:cNvPr>
          <p:cNvSpPr/>
          <p:nvPr/>
        </p:nvSpPr>
        <p:spPr>
          <a:xfrm>
            <a:off x="2998129" y="3212976"/>
            <a:ext cx="3147743" cy="2880320"/>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bg1">
              <a:lumMod val="85000"/>
            </a:schemeClr>
          </a:solidFill>
          <a:ln w="12700">
            <a:noFill/>
            <a:miter lim="400000"/>
          </a:ln>
          <a:effectLst/>
        </p:spPr>
        <p:txBody>
          <a:bodyPr lIns="135000" tIns="135000" rIns="135000" bIns="135000" anchor="ctr"/>
          <a:lstStyle/>
          <a:p>
            <a:pPr algn="just">
              <a:defRPr sz="3000">
                <a:solidFill>
                  <a:srgbClr val="FFFFFF"/>
                </a:solidFill>
              </a:defRPr>
            </a:pPr>
            <a:r>
              <a:rPr lang="lt-LT" sz="1050" noProof="1">
                <a:solidFill>
                  <a:srgbClr val="000000"/>
                </a:solidFill>
              </a:rPr>
              <a:t>Integralus stebėsenos elementas turėtų būti kas 2–3 metus atliekami kokybiniai tyrimai, atliekant interviu ar naudojant kitus dalyvavimu pagrįstus metodus, siekiant įvertinti, kaip pedagogai pritaikė įgytas žinias, kompetencijas bei kokį poveikį pajuto mokiniai. Aukštosios mokyklos / pedagogų rengimo centrai galėtų įgyvendinti šiuos tyrimus ir pasidalinti rezultatais su NŠA ir ŠMSM, kurios atitinkamai atliktų reikalingus pokyčius sistemoje, teiktų paslaugų teikėjams grįžtamąjį ryšį.</a:t>
            </a:r>
          </a:p>
        </p:txBody>
      </p:sp>
      <p:sp>
        <p:nvSpPr>
          <p:cNvPr id="18" name="Shape">
            <a:extLst>
              <a:ext uri="{FF2B5EF4-FFF2-40B4-BE49-F238E27FC236}">
                <a16:creationId xmlns:a16="http://schemas.microsoft.com/office/drawing/2014/main" id="{486AEF5D-30F6-4F3A-9A0F-56A8CF84CCF5}"/>
              </a:ext>
            </a:extLst>
          </p:cNvPr>
          <p:cNvSpPr/>
          <p:nvPr/>
        </p:nvSpPr>
        <p:spPr>
          <a:xfrm>
            <a:off x="3001133" y="1196752"/>
            <a:ext cx="3141735" cy="1152128"/>
          </a:xfrm>
          <a:custGeom>
            <a:avLst/>
            <a:gdLst/>
            <a:ahLst/>
            <a:cxnLst>
              <a:cxn ang="0">
                <a:pos x="wd2" y="hd2"/>
              </a:cxn>
              <a:cxn ang="5400000">
                <a:pos x="wd2" y="hd2"/>
              </a:cxn>
              <a:cxn ang="10800000">
                <a:pos x="wd2" y="hd2"/>
              </a:cxn>
              <a:cxn ang="16200000">
                <a:pos x="wd2" y="hd2"/>
              </a:cxn>
            </a:cxnLst>
            <a:rect l="0" t="0" r="r" b="b"/>
            <a:pathLst>
              <a:path w="21600" h="21600" extrusionOk="0">
                <a:moveTo>
                  <a:pt x="18724" y="0"/>
                </a:moveTo>
                <a:lnTo>
                  <a:pt x="2876" y="0"/>
                </a:lnTo>
                <a:cubicBezTo>
                  <a:pt x="1294" y="0"/>
                  <a:pt x="0" y="1119"/>
                  <a:pt x="0" y="2488"/>
                </a:cubicBezTo>
                <a:lnTo>
                  <a:pt x="0" y="19112"/>
                </a:lnTo>
                <a:cubicBezTo>
                  <a:pt x="0" y="20481"/>
                  <a:pt x="1294" y="21600"/>
                  <a:pt x="2876" y="21600"/>
                </a:cubicBezTo>
                <a:lnTo>
                  <a:pt x="18724" y="21600"/>
                </a:lnTo>
                <a:cubicBezTo>
                  <a:pt x="20306" y="21600"/>
                  <a:pt x="21600" y="20481"/>
                  <a:pt x="21600" y="19112"/>
                </a:cubicBezTo>
                <a:lnTo>
                  <a:pt x="21600" y="2488"/>
                </a:lnTo>
                <a:cubicBezTo>
                  <a:pt x="21600" y="1119"/>
                  <a:pt x="20306" y="0"/>
                  <a:pt x="18724" y="0"/>
                </a:cubicBezTo>
                <a:close/>
              </a:path>
            </a:pathLst>
          </a:custGeom>
          <a:solidFill>
            <a:schemeClr val="accent2"/>
          </a:solidFill>
          <a:ln w="12700">
            <a:noFill/>
            <a:miter lim="400000"/>
          </a:ln>
          <a:effectLst/>
        </p:spPr>
        <p:txBody>
          <a:bodyPr lIns="135000" tIns="135000" rIns="135000" bIns="135000" anchor="ctr"/>
          <a:lstStyle/>
          <a:p>
            <a:pPr algn="ctr">
              <a:defRPr sz="3000">
                <a:solidFill>
                  <a:srgbClr val="FFFFFF"/>
                </a:solidFill>
              </a:defRPr>
            </a:pPr>
            <a:r>
              <a:rPr lang="lt-LT" sz="1050" noProof="1">
                <a:solidFill>
                  <a:schemeClr val="bg1"/>
                </a:solidFill>
              </a:rPr>
              <a:t>Stebėsena turėtų apimti ne tik rezultatus, bet ir poveikį, kuris būtų nustatomas kokybiniu tyrimu su aukštųjų mokyklų / pedagogų rengimo centrų pagalba</a:t>
            </a:r>
          </a:p>
        </p:txBody>
      </p:sp>
      <p:grpSp>
        <p:nvGrpSpPr>
          <p:cNvPr id="13" name="Group 12">
            <a:extLst>
              <a:ext uri="{FF2B5EF4-FFF2-40B4-BE49-F238E27FC236}">
                <a16:creationId xmlns:a16="http://schemas.microsoft.com/office/drawing/2014/main" id="{6FF6DCE5-6046-40BF-B824-72ECC9EF7F29}"/>
              </a:ext>
            </a:extLst>
          </p:cNvPr>
          <p:cNvGrpSpPr/>
          <p:nvPr/>
        </p:nvGrpSpPr>
        <p:grpSpPr>
          <a:xfrm>
            <a:off x="3932458" y="2204864"/>
            <a:ext cx="1279083" cy="1229828"/>
            <a:chOff x="776955" y="2821379"/>
            <a:chExt cx="1279083" cy="1229828"/>
          </a:xfrm>
          <a:effectLst/>
        </p:grpSpPr>
        <p:sp>
          <p:nvSpPr>
            <p:cNvPr id="14" name="Shape">
              <a:extLst>
                <a:ext uri="{FF2B5EF4-FFF2-40B4-BE49-F238E27FC236}">
                  <a16:creationId xmlns:a16="http://schemas.microsoft.com/office/drawing/2014/main" id="{E42A5B84-AE5C-4585-B8EF-E6B31FC6462E}"/>
                </a:ext>
              </a:extLst>
            </p:cNvPr>
            <p:cNvSpPr/>
            <p:nvPr/>
          </p:nvSpPr>
          <p:spPr>
            <a:xfrm>
              <a:off x="776955" y="2821379"/>
              <a:ext cx="1279083" cy="1229828"/>
            </a:xfrm>
            <a:custGeom>
              <a:avLst/>
              <a:gdLst/>
              <a:ahLst/>
              <a:cxnLst>
                <a:cxn ang="0">
                  <a:pos x="wd2" y="hd2"/>
                </a:cxn>
                <a:cxn ang="5400000">
                  <a:pos x="wd2" y="hd2"/>
                </a:cxn>
                <a:cxn ang="10800000">
                  <a:pos x="wd2" y="hd2"/>
                </a:cxn>
                <a:cxn ang="16200000">
                  <a:pos x="wd2" y="hd2"/>
                </a:cxn>
              </a:cxnLst>
              <a:rect l="0" t="0" r="r" b="b"/>
              <a:pathLst>
                <a:path w="20936" h="21600" extrusionOk="0">
                  <a:moveTo>
                    <a:pt x="11986" y="0"/>
                  </a:moveTo>
                  <a:lnTo>
                    <a:pt x="8950" y="0"/>
                  </a:lnTo>
                  <a:cubicBezTo>
                    <a:pt x="6296" y="0"/>
                    <a:pt x="3842" y="1521"/>
                    <a:pt x="2515" y="3988"/>
                  </a:cubicBezTo>
                  <a:lnTo>
                    <a:pt x="995" y="6812"/>
                  </a:lnTo>
                  <a:cubicBezTo>
                    <a:pt x="-332" y="9279"/>
                    <a:pt x="-332" y="12318"/>
                    <a:pt x="995" y="14788"/>
                  </a:cubicBezTo>
                  <a:lnTo>
                    <a:pt x="2515" y="17612"/>
                  </a:lnTo>
                  <a:cubicBezTo>
                    <a:pt x="3842" y="20079"/>
                    <a:pt x="6296" y="21600"/>
                    <a:pt x="8950" y="21600"/>
                  </a:cubicBezTo>
                  <a:lnTo>
                    <a:pt x="11986" y="21600"/>
                  </a:lnTo>
                  <a:cubicBezTo>
                    <a:pt x="14640" y="21600"/>
                    <a:pt x="17094" y="20079"/>
                    <a:pt x="18421" y="17612"/>
                  </a:cubicBezTo>
                  <a:lnTo>
                    <a:pt x="19941" y="14788"/>
                  </a:lnTo>
                  <a:cubicBezTo>
                    <a:pt x="21268" y="12321"/>
                    <a:pt x="21268" y="9282"/>
                    <a:pt x="19941" y="6812"/>
                  </a:cubicBezTo>
                  <a:lnTo>
                    <a:pt x="18421" y="3988"/>
                  </a:lnTo>
                  <a:cubicBezTo>
                    <a:pt x="17097" y="1521"/>
                    <a:pt x="14643" y="0"/>
                    <a:pt x="11986" y="0"/>
                  </a:cubicBezTo>
                  <a:close/>
                </a:path>
              </a:pathLst>
            </a:custGeom>
            <a:solidFill>
              <a:srgbClr val="F4F5F5"/>
            </a:solidFill>
            <a:ln w="12700">
              <a:solidFill>
                <a:schemeClr val="bg1">
                  <a:lumMod val="75000"/>
                  <a:alpha val="40000"/>
                </a:schemeClr>
              </a:solidFill>
              <a:miter lim="400000"/>
            </a:ln>
            <a:effectLst>
              <a:outerShdw blurRad="88900" dist="38100" dir="2400000" algn="l" rotWithShape="0">
                <a:prstClr val="black">
                  <a:alpha val="40000"/>
                </a:prstClr>
              </a:outerShdw>
            </a:effectLst>
          </p:spPr>
          <p:txBody>
            <a:bodyPr lIns="135000" tIns="135000" rIns="135000" bIns="135000" anchor="b"/>
            <a:lstStyle/>
            <a:p>
              <a:pPr algn="ctr"/>
              <a:endParaRPr sz="1000">
                <a:solidFill>
                  <a:schemeClr val="tx1">
                    <a:lumMod val="65000"/>
                    <a:lumOff val="35000"/>
                  </a:schemeClr>
                </a:solidFill>
              </a:endParaRPr>
            </a:p>
          </p:txBody>
        </p:sp>
        <p:sp>
          <p:nvSpPr>
            <p:cNvPr id="15" name="Shape">
              <a:extLst>
                <a:ext uri="{FF2B5EF4-FFF2-40B4-BE49-F238E27FC236}">
                  <a16:creationId xmlns:a16="http://schemas.microsoft.com/office/drawing/2014/main" id="{AA16E7A9-E674-486E-B1A1-25482019E52C}"/>
                </a:ext>
              </a:extLst>
            </p:cNvPr>
            <p:cNvSpPr/>
            <p:nvPr/>
          </p:nvSpPr>
          <p:spPr>
            <a:xfrm>
              <a:off x="883647" y="2910289"/>
              <a:ext cx="1065163" cy="1044536"/>
            </a:xfrm>
            <a:custGeom>
              <a:avLst/>
              <a:gdLst/>
              <a:ahLst/>
              <a:cxnLst>
                <a:cxn ang="0">
                  <a:pos x="wd2" y="hd2"/>
                </a:cxn>
                <a:cxn ang="5400000">
                  <a:pos x="wd2" y="hd2"/>
                </a:cxn>
                <a:cxn ang="10800000">
                  <a:pos x="wd2" y="hd2"/>
                </a:cxn>
                <a:cxn ang="16200000">
                  <a:pos x="wd2" y="hd2"/>
                </a:cxn>
              </a:cxnLst>
              <a:rect l="0" t="0" r="r" b="b"/>
              <a:pathLst>
                <a:path w="20808" h="21600" extrusionOk="0">
                  <a:moveTo>
                    <a:pt x="11172" y="0"/>
                  </a:moveTo>
                  <a:lnTo>
                    <a:pt x="9636" y="0"/>
                  </a:lnTo>
                  <a:cubicBezTo>
                    <a:pt x="6468" y="0"/>
                    <a:pt x="3540" y="1791"/>
                    <a:pt x="1956" y="4696"/>
                  </a:cubicBezTo>
                  <a:lnTo>
                    <a:pt x="1188" y="6104"/>
                  </a:lnTo>
                  <a:cubicBezTo>
                    <a:pt x="-396" y="9009"/>
                    <a:pt x="-396" y="12587"/>
                    <a:pt x="1188" y="15496"/>
                  </a:cubicBezTo>
                  <a:lnTo>
                    <a:pt x="1956" y="16904"/>
                  </a:lnTo>
                  <a:cubicBezTo>
                    <a:pt x="3540" y="19809"/>
                    <a:pt x="6468" y="21600"/>
                    <a:pt x="9636" y="21600"/>
                  </a:cubicBezTo>
                  <a:lnTo>
                    <a:pt x="11172" y="21600"/>
                  </a:lnTo>
                  <a:cubicBezTo>
                    <a:pt x="14340" y="21600"/>
                    <a:pt x="17268" y="19809"/>
                    <a:pt x="18852" y="16904"/>
                  </a:cubicBezTo>
                  <a:lnTo>
                    <a:pt x="19620" y="15496"/>
                  </a:lnTo>
                  <a:cubicBezTo>
                    <a:pt x="21204" y="12591"/>
                    <a:pt x="21204" y="9013"/>
                    <a:pt x="19620" y="6104"/>
                  </a:cubicBezTo>
                  <a:lnTo>
                    <a:pt x="18852" y="4696"/>
                  </a:lnTo>
                  <a:cubicBezTo>
                    <a:pt x="17268" y="1791"/>
                    <a:pt x="14340" y="0"/>
                    <a:pt x="11172" y="0"/>
                  </a:cubicBezTo>
                  <a:close/>
                </a:path>
              </a:pathLst>
            </a:custGeom>
            <a:solidFill>
              <a:schemeClr val="accent4"/>
            </a:solidFill>
            <a:ln w="12700">
              <a:miter lim="400000"/>
            </a:ln>
          </p:spPr>
          <p:txBody>
            <a:bodyPr lIns="28575" tIns="28575" rIns="28575" bIns="28575" anchor="ctr"/>
            <a:lstStyle/>
            <a:p>
              <a:pPr algn="ctr">
                <a:defRPr sz="3000">
                  <a:solidFill>
                    <a:srgbClr val="FFFFFF"/>
                  </a:solidFill>
                </a:defRPr>
              </a:pPr>
              <a:r>
                <a:rPr lang="lt-LT" sz="2400" b="1"/>
                <a:t>12</a:t>
              </a:r>
              <a:endParaRPr sz="2400" b="1"/>
            </a:p>
          </p:txBody>
        </p:sp>
      </p:grpSp>
    </p:spTree>
    <p:extLst>
      <p:ext uri="{BB962C8B-B14F-4D97-AF65-F5344CB8AC3E}">
        <p14:creationId xmlns:p14="http://schemas.microsoft.com/office/powerpoint/2010/main" val="486679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B14BE4FD-12B4-4A41-8A8D-DDF46238DAE4}"/>
              </a:ext>
            </a:extLst>
          </p:cNvPr>
          <p:cNvSpPr/>
          <p:nvPr/>
        </p:nvSpPr>
        <p:spPr>
          <a:xfrm>
            <a:off x="401885" y="917346"/>
            <a:ext cx="8346827" cy="32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a:t>Tyrimo tikslas</a:t>
            </a:r>
          </a:p>
        </p:txBody>
      </p:sp>
      <p:sp>
        <p:nvSpPr>
          <p:cNvPr id="60" name="Rectangle 59">
            <a:extLst>
              <a:ext uri="{FF2B5EF4-FFF2-40B4-BE49-F238E27FC236}">
                <a16:creationId xmlns:a16="http://schemas.microsoft.com/office/drawing/2014/main" id="{2AC97D6B-0690-4A41-B111-6B17C6DA9F9C}"/>
              </a:ext>
            </a:extLst>
          </p:cNvPr>
          <p:cNvSpPr/>
          <p:nvPr/>
        </p:nvSpPr>
        <p:spPr>
          <a:xfrm>
            <a:off x="401886" y="1340824"/>
            <a:ext cx="8346827" cy="50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lt-LT" sz="1200">
                <a:solidFill>
                  <a:schemeClr val="tx1"/>
                </a:solidFill>
              </a:rPr>
              <a:t>Atsižvelgiant į užsienio šalių patirtis, pasiūlyti Lietuvos pedagogų rengimo centrų funkcijas ir atsakomybes, kuriomis būtų užtikrinta aukšta profesinių kompetencijų tobulinimo (toliau – PKT) kokybė. </a:t>
            </a:r>
          </a:p>
        </p:txBody>
      </p:sp>
      <p:sp>
        <p:nvSpPr>
          <p:cNvPr id="39" name="Rectangle 38">
            <a:extLst>
              <a:ext uri="{FF2B5EF4-FFF2-40B4-BE49-F238E27FC236}">
                <a16:creationId xmlns:a16="http://schemas.microsoft.com/office/drawing/2014/main" id="{38C81FBF-1E04-4C2E-B998-742C5B4E070F}"/>
              </a:ext>
            </a:extLst>
          </p:cNvPr>
          <p:cNvSpPr/>
          <p:nvPr/>
        </p:nvSpPr>
        <p:spPr>
          <a:xfrm>
            <a:off x="395535" y="2528936"/>
            <a:ext cx="8353177" cy="324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lt-LT" sz="1200">
                <a:solidFill>
                  <a:schemeClr val="bg1"/>
                </a:solidFill>
              </a:rPr>
              <a:t>Tyrimo uždaviniai</a:t>
            </a:r>
          </a:p>
        </p:txBody>
      </p:sp>
      <p:sp>
        <p:nvSpPr>
          <p:cNvPr id="40" name="Rectangle 39">
            <a:extLst>
              <a:ext uri="{FF2B5EF4-FFF2-40B4-BE49-F238E27FC236}">
                <a16:creationId xmlns:a16="http://schemas.microsoft.com/office/drawing/2014/main" id="{EB2F890F-C7DC-48F7-BEF6-5AD7A536FA64}"/>
              </a:ext>
            </a:extLst>
          </p:cNvPr>
          <p:cNvSpPr/>
          <p:nvPr/>
        </p:nvSpPr>
        <p:spPr>
          <a:xfrm>
            <a:off x="398983" y="2957750"/>
            <a:ext cx="8349730" cy="46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1"/>
            <a:r>
              <a:rPr lang="lt-LT" sz="1200">
                <a:solidFill>
                  <a:schemeClr val="tx1"/>
                </a:solidFill>
              </a:rPr>
              <a:t>Išnagrinėti Lietuvos ir užsienio šalių (ne mažiau trijų) PKT ir jo kokybės užtikrinimo sistemas</a:t>
            </a:r>
          </a:p>
        </p:txBody>
      </p:sp>
      <p:sp>
        <p:nvSpPr>
          <p:cNvPr id="43" name="Rectangle 42">
            <a:extLst>
              <a:ext uri="{FF2B5EF4-FFF2-40B4-BE49-F238E27FC236}">
                <a16:creationId xmlns:a16="http://schemas.microsoft.com/office/drawing/2014/main" id="{8E57DEA4-E290-44A1-9C3A-9CA760C11626}"/>
              </a:ext>
            </a:extLst>
          </p:cNvPr>
          <p:cNvSpPr/>
          <p:nvPr/>
        </p:nvSpPr>
        <p:spPr>
          <a:xfrm>
            <a:off x="395536" y="3510895"/>
            <a:ext cx="8353177" cy="46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1"/>
            <a:r>
              <a:rPr lang="lt-LT" sz="1200">
                <a:solidFill>
                  <a:schemeClr val="tx1"/>
                </a:solidFill>
              </a:rPr>
              <a:t>Įvertinti Lietuvos ir užsienio šalių (ne mažiau trijų) aukštųjų mokyklų funkcijų ir atsakomybių tinkamumą įgyvendinant šalies PKT ir jo kokybės užtikrinimą</a:t>
            </a:r>
          </a:p>
        </p:txBody>
      </p:sp>
      <p:sp>
        <p:nvSpPr>
          <p:cNvPr id="47" name="Rectangle 46">
            <a:extLst>
              <a:ext uri="{FF2B5EF4-FFF2-40B4-BE49-F238E27FC236}">
                <a16:creationId xmlns:a16="http://schemas.microsoft.com/office/drawing/2014/main" id="{32D394B3-A6D3-4E86-8E78-8CFD13DB1509}"/>
              </a:ext>
            </a:extLst>
          </p:cNvPr>
          <p:cNvSpPr/>
          <p:nvPr/>
        </p:nvSpPr>
        <p:spPr>
          <a:xfrm>
            <a:off x="395536" y="4064040"/>
            <a:ext cx="8352928" cy="46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1"/>
            <a:r>
              <a:rPr lang="lt-LT" sz="1200">
                <a:solidFill>
                  <a:schemeClr val="tx1"/>
                </a:solidFill>
              </a:rPr>
              <a:t>Pasiūlyti Lietuvos kontekstui tinkamas pedagogų rengimo centrų funkcijas ir atsakomybes, kuriomis būtų užtikrintos kokybiškos PKT paslaugos</a:t>
            </a:r>
          </a:p>
        </p:txBody>
      </p:sp>
      <p:sp>
        <p:nvSpPr>
          <p:cNvPr id="52" name="Rectangle 51">
            <a:extLst>
              <a:ext uri="{FF2B5EF4-FFF2-40B4-BE49-F238E27FC236}">
                <a16:creationId xmlns:a16="http://schemas.microsoft.com/office/drawing/2014/main" id="{1B1EAE41-6B39-4A75-BCFF-AFB31150B53B}"/>
              </a:ext>
            </a:extLst>
          </p:cNvPr>
          <p:cNvSpPr/>
          <p:nvPr/>
        </p:nvSpPr>
        <p:spPr>
          <a:xfrm>
            <a:off x="395536" y="2957750"/>
            <a:ext cx="340636" cy="46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a:solidFill>
                  <a:schemeClr val="tx1"/>
                </a:solidFill>
              </a:rPr>
              <a:t>1.</a:t>
            </a:r>
          </a:p>
        </p:txBody>
      </p:sp>
      <p:sp>
        <p:nvSpPr>
          <p:cNvPr id="53" name="Rectangle 52">
            <a:extLst>
              <a:ext uri="{FF2B5EF4-FFF2-40B4-BE49-F238E27FC236}">
                <a16:creationId xmlns:a16="http://schemas.microsoft.com/office/drawing/2014/main" id="{2D826C49-4AA6-4E2E-99FE-94C3ACD4923F}"/>
              </a:ext>
            </a:extLst>
          </p:cNvPr>
          <p:cNvSpPr/>
          <p:nvPr/>
        </p:nvSpPr>
        <p:spPr>
          <a:xfrm>
            <a:off x="395536" y="3510895"/>
            <a:ext cx="340636" cy="46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a:solidFill>
                  <a:schemeClr val="tx1"/>
                </a:solidFill>
              </a:rPr>
              <a:t>2.</a:t>
            </a:r>
          </a:p>
        </p:txBody>
      </p:sp>
      <p:sp>
        <p:nvSpPr>
          <p:cNvPr id="54" name="Rectangle 53">
            <a:extLst>
              <a:ext uri="{FF2B5EF4-FFF2-40B4-BE49-F238E27FC236}">
                <a16:creationId xmlns:a16="http://schemas.microsoft.com/office/drawing/2014/main" id="{EAE79DE4-BE72-406A-BC78-D4584E3FFA35}"/>
              </a:ext>
            </a:extLst>
          </p:cNvPr>
          <p:cNvSpPr/>
          <p:nvPr/>
        </p:nvSpPr>
        <p:spPr>
          <a:xfrm>
            <a:off x="395536" y="4064040"/>
            <a:ext cx="340636" cy="46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a:solidFill>
                  <a:schemeClr val="tx1"/>
                </a:solidFill>
              </a:rPr>
              <a:t>3.</a:t>
            </a:r>
          </a:p>
        </p:txBody>
      </p:sp>
      <p:sp>
        <p:nvSpPr>
          <p:cNvPr id="55" name="Rectangle 54">
            <a:extLst>
              <a:ext uri="{FF2B5EF4-FFF2-40B4-BE49-F238E27FC236}">
                <a16:creationId xmlns:a16="http://schemas.microsoft.com/office/drawing/2014/main" id="{01658474-2E22-4865-8235-D5079346D8D7}"/>
              </a:ext>
            </a:extLst>
          </p:cNvPr>
          <p:cNvSpPr/>
          <p:nvPr/>
        </p:nvSpPr>
        <p:spPr>
          <a:xfrm>
            <a:off x="395535" y="4617184"/>
            <a:ext cx="8349730" cy="46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1"/>
            <a:r>
              <a:rPr lang="lt-LT" sz="1200">
                <a:solidFill>
                  <a:schemeClr val="tx1"/>
                </a:solidFill>
              </a:rPr>
              <a:t>Pateikti rekomendacijas šių funkcijų praktiniam įgyvendinimui.</a:t>
            </a:r>
          </a:p>
        </p:txBody>
      </p:sp>
      <p:sp>
        <p:nvSpPr>
          <p:cNvPr id="56" name="Rectangle 55">
            <a:extLst>
              <a:ext uri="{FF2B5EF4-FFF2-40B4-BE49-F238E27FC236}">
                <a16:creationId xmlns:a16="http://schemas.microsoft.com/office/drawing/2014/main" id="{1D951BB4-4ED4-4A7D-A31D-A2CC4FE35E37}"/>
              </a:ext>
            </a:extLst>
          </p:cNvPr>
          <p:cNvSpPr/>
          <p:nvPr/>
        </p:nvSpPr>
        <p:spPr>
          <a:xfrm>
            <a:off x="395536" y="4617184"/>
            <a:ext cx="340636" cy="46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a:solidFill>
                  <a:schemeClr val="tx1"/>
                </a:solidFill>
              </a:rPr>
              <a:t>4.</a:t>
            </a:r>
          </a:p>
        </p:txBody>
      </p:sp>
      <p:sp>
        <p:nvSpPr>
          <p:cNvPr id="14" name="Title 1">
            <a:extLst>
              <a:ext uri="{FF2B5EF4-FFF2-40B4-BE49-F238E27FC236}">
                <a16:creationId xmlns:a16="http://schemas.microsoft.com/office/drawing/2014/main" id="{D98C4978-88CB-4F72-9046-EF240B62D1F2}"/>
              </a:ext>
            </a:extLst>
          </p:cNvPr>
          <p:cNvSpPr>
            <a:spLocks noGrp="1"/>
          </p:cNvSpPr>
          <p:nvPr>
            <p:ph type="title"/>
          </p:nvPr>
        </p:nvSpPr>
        <p:spPr>
          <a:xfrm>
            <a:off x="395536" y="410596"/>
            <a:ext cx="8353177" cy="497454"/>
          </a:xfrm>
        </p:spPr>
        <p:txBody>
          <a:bodyPr>
            <a:noAutofit/>
          </a:bodyPr>
          <a:lstStyle/>
          <a:p>
            <a:r>
              <a:rPr lang="lt-LT" dirty="0"/>
              <a:t>Tyrimo tikslas ir uždaviniai</a:t>
            </a:r>
            <a:br>
              <a:rPr lang="lt-LT" dirty="0"/>
            </a:br>
            <a:endParaRPr lang="lt-LT" dirty="0"/>
          </a:p>
        </p:txBody>
      </p:sp>
      <p:sp>
        <p:nvSpPr>
          <p:cNvPr id="15" name="Rectangle 14">
            <a:extLst>
              <a:ext uri="{FF2B5EF4-FFF2-40B4-BE49-F238E27FC236}">
                <a16:creationId xmlns:a16="http://schemas.microsoft.com/office/drawing/2014/main" id="{8CAD4D44-2F6A-4C97-A468-BA799D206536}"/>
              </a:ext>
            </a:extLst>
          </p:cNvPr>
          <p:cNvSpPr/>
          <p:nvPr/>
        </p:nvSpPr>
        <p:spPr>
          <a:xfrm>
            <a:off x="395288" y="5723473"/>
            <a:ext cx="8346827" cy="50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lt-LT" sz="1100" i="1" dirty="0">
                <a:solidFill>
                  <a:schemeClr val="tx1"/>
                </a:solidFill>
              </a:rPr>
              <a:t>PKT – pedagogų kvalifikacijos tobulinimas</a:t>
            </a:r>
          </a:p>
        </p:txBody>
      </p:sp>
    </p:spTree>
    <p:extLst>
      <p:ext uri="{BB962C8B-B14F-4D97-AF65-F5344CB8AC3E}">
        <p14:creationId xmlns:p14="http://schemas.microsoft.com/office/powerpoint/2010/main" val="29699922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83C245-78ED-0C43-9D09-2007BE3FA4C3}"/>
              </a:ext>
            </a:extLst>
          </p:cNvPr>
          <p:cNvSpPr/>
          <p:nvPr/>
        </p:nvSpPr>
        <p:spPr>
          <a:xfrm>
            <a:off x="0" y="0"/>
            <a:ext cx="9144000" cy="6872762"/>
          </a:xfrm>
          <a:prstGeom prst="rect">
            <a:avLst/>
          </a:prstGeom>
          <a:solidFill>
            <a:srgbClr val="0001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pic>
        <p:nvPicPr>
          <p:cNvPr id="4" name="Picture 3" descr="A black and white logo&#10;&#10;Description automatically generated with low confidence">
            <a:extLst>
              <a:ext uri="{FF2B5EF4-FFF2-40B4-BE49-F238E27FC236}">
                <a16:creationId xmlns:a16="http://schemas.microsoft.com/office/drawing/2014/main" id="{1C1FDAC4-09EF-6F43-AB8B-9A6C5CBB2A7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74031" y="3068123"/>
            <a:ext cx="3995936" cy="721754"/>
          </a:xfrm>
          <a:prstGeom prst="rect">
            <a:avLst/>
          </a:prstGeom>
        </p:spPr>
      </p:pic>
      <p:sp>
        <p:nvSpPr>
          <p:cNvPr id="5" name="Rectangle 4">
            <a:extLst>
              <a:ext uri="{FF2B5EF4-FFF2-40B4-BE49-F238E27FC236}">
                <a16:creationId xmlns:a16="http://schemas.microsoft.com/office/drawing/2014/main" id="{76211AD8-7EB0-0840-B092-AE0F05548182}"/>
              </a:ext>
            </a:extLst>
          </p:cNvPr>
          <p:cNvSpPr/>
          <p:nvPr/>
        </p:nvSpPr>
        <p:spPr>
          <a:xfrm>
            <a:off x="0" y="5805264"/>
            <a:ext cx="9143999" cy="432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000">
                <a:solidFill>
                  <a:schemeClr val="bg1"/>
                </a:solidFill>
              </a:rPr>
              <a:t>www.smartcontinent.com </a:t>
            </a:r>
          </a:p>
        </p:txBody>
      </p:sp>
    </p:spTree>
    <p:extLst>
      <p:ext uri="{BB962C8B-B14F-4D97-AF65-F5344CB8AC3E}">
        <p14:creationId xmlns:p14="http://schemas.microsoft.com/office/powerpoint/2010/main" val="40678387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2FBB0-E582-4B6A-86F6-249AEF2C1D9E}"/>
              </a:ext>
            </a:extLst>
          </p:cNvPr>
          <p:cNvSpPr>
            <a:spLocks noGrp="1"/>
          </p:cNvSpPr>
          <p:nvPr>
            <p:ph type="title"/>
          </p:nvPr>
        </p:nvSpPr>
        <p:spPr/>
        <p:txBody>
          <a:bodyPr>
            <a:noAutofit/>
          </a:bodyPr>
          <a:lstStyle/>
          <a:p>
            <a:r>
              <a:rPr lang="lt-LT"/>
              <a:t>Taikyti metodai</a:t>
            </a:r>
            <a:br>
              <a:rPr lang="lt-LT"/>
            </a:br>
            <a:endParaRPr lang="lt-LT"/>
          </a:p>
        </p:txBody>
      </p:sp>
      <p:sp>
        <p:nvSpPr>
          <p:cNvPr id="14" name="Rectangle 3">
            <a:extLst>
              <a:ext uri="{FF2B5EF4-FFF2-40B4-BE49-F238E27FC236}">
                <a16:creationId xmlns:a16="http://schemas.microsoft.com/office/drawing/2014/main" id="{DFC8EAFC-6AC3-4D24-BF79-F6C014B2138F}"/>
              </a:ext>
            </a:extLst>
          </p:cNvPr>
          <p:cNvSpPr/>
          <p:nvPr/>
        </p:nvSpPr>
        <p:spPr>
          <a:xfrm>
            <a:off x="395536" y="908720"/>
            <a:ext cx="2160736" cy="68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b="1"/>
              <a:t>TEISINIŲ DOKUMENTŲ ANALIZĖ</a:t>
            </a:r>
          </a:p>
        </p:txBody>
      </p:sp>
      <p:sp>
        <p:nvSpPr>
          <p:cNvPr id="15" name="Isosceles Triangle 14">
            <a:extLst>
              <a:ext uri="{FF2B5EF4-FFF2-40B4-BE49-F238E27FC236}">
                <a16:creationId xmlns:a16="http://schemas.microsoft.com/office/drawing/2014/main" id="{35304EFD-0E53-4ECC-ACC4-C38B7A5CEFCA}"/>
              </a:ext>
            </a:extLst>
          </p:cNvPr>
          <p:cNvSpPr/>
          <p:nvPr/>
        </p:nvSpPr>
        <p:spPr>
          <a:xfrm rot="5400000">
            <a:off x="2318690" y="1206035"/>
            <a:ext cx="683999" cy="8937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lt-LT" sz="1200"/>
          </a:p>
        </p:txBody>
      </p:sp>
      <p:sp>
        <p:nvSpPr>
          <p:cNvPr id="16" name="Rectangle 13">
            <a:extLst>
              <a:ext uri="{FF2B5EF4-FFF2-40B4-BE49-F238E27FC236}">
                <a16:creationId xmlns:a16="http://schemas.microsoft.com/office/drawing/2014/main" id="{0A17E152-0730-49B3-8A4D-DC66617A3507}"/>
              </a:ext>
            </a:extLst>
          </p:cNvPr>
          <p:cNvSpPr/>
          <p:nvPr/>
        </p:nvSpPr>
        <p:spPr>
          <a:xfrm>
            <a:off x="2849395" y="908720"/>
            <a:ext cx="5899318" cy="684000"/>
          </a:xfrm>
          <a:prstGeom prst="rect">
            <a:avLst/>
          </a:prstGeom>
          <a:solidFill>
            <a:schemeClr val="bg1"/>
          </a:solid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lt-LT" sz="1200">
                <a:solidFill>
                  <a:schemeClr val="tx1"/>
                </a:solidFill>
              </a:rPr>
              <a:t>Metodas pasitelktas įvertinti esamą PKT sistemos reglamentavimą Lietuvoje ir užsienio šalyse bei nustatyti teisinio reglamentavimo pokyčių poreikį.</a:t>
            </a:r>
          </a:p>
        </p:txBody>
      </p:sp>
      <p:sp>
        <p:nvSpPr>
          <p:cNvPr id="17" name="Rectangle 4">
            <a:extLst>
              <a:ext uri="{FF2B5EF4-FFF2-40B4-BE49-F238E27FC236}">
                <a16:creationId xmlns:a16="http://schemas.microsoft.com/office/drawing/2014/main" id="{C39EB42C-2B5E-4751-BAF8-DB02B2A8668C}"/>
              </a:ext>
            </a:extLst>
          </p:cNvPr>
          <p:cNvSpPr/>
          <p:nvPr/>
        </p:nvSpPr>
        <p:spPr>
          <a:xfrm>
            <a:off x="395536" y="1757933"/>
            <a:ext cx="2160736" cy="7679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b="1"/>
              <a:t>ANTRINIŲ ŠALTINIŲ ANALIZĖ </a:t>
            </a:r>
          </a:p>
        </p:txBody>
      </p:sp>
      <p:sp>
        <p:nvSpPr>
          <p:cNvPr id="18" name="Rectangle 17">
            <a:extLst>
              <a:ext uri="{FF2B5EF4-FFF2-40B4-BE49-F238E27FC236}">
                <a16:creationId xmlns:a16="http://schemas.microsoft.com/office/drawing/2014/main" id="{4F0B9587-7D1E-4A90-8073-6D81EAE81906}"/>
              </a:ext>
            </a:extLst>
          </p:cNvPr>
          <p:cNvSpPr/>
          <p:nvPr/>
        </p:nvSpPr>
        <p:spPr>
          <a:xfrm>
            <a:off x="2849395" y="1754723"/>
            <a:ext cx="5899318" cy="771146"/>
          </a:xfrm>
          <a:prstGeom prst="rect">
            <a:avLst/>
          </a:prstGeom>
          <a:solidFill>
            <a:schemeClr val="bg1"/>
          </a:solid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a:solidFill>
                  <a:schemeClr val="tx1"/>
                </a:solidFill>
              </a:rPr>
              <a:t>Metodas pasitelktas Lietuvos PKT modelio vertinimui ir užsienio šalių praktikos analizei. Aprašytos Estijos, Suomijos, Nyderlandų ir Airijos PKT sistemos ir įvertintas aukštųjų mokyklų vaidmuo prisidedant prie PKT.</a:t>
            </a:r>
          </a:p>
        </p:txBody>
      </p:sp>
      <p:sp>
        <p:nvSpPr>
          <p:cNvPr id="19" name="Rectangle 6">
            <a:extLst>
              <a:ext uri="{FF2B5EF4-FFF2-40B4-BE49-F238E27FC236}">
                <a16:creationId xmlns:a16="http://schemas.microsoft.com/office/drawing/2014/main" id="{6E80D752-FFDE-47F6-B91B-D7CE1D4F59B8}"/>
              </a:ext>
            </a:extLst>
          </p:cNvPr>
          <p:cNvSpPr/>
          <p:nvPr/>
        </p:nvSpPr>
        <p:spPr>
          <a:xfrm>
            <a:off x="395536" y="3540234"/>
            <a:ext cx="2160736" cy="68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b="1"/>
              <a:t>EKSPERTINIS VERTINIMAS</a:t>
            </a:r>
          </a:p>
        </p:txBody>
      </p:sp>
      <p:sp>
        <p:nvSpPr>
          <p:cNvPr id="20" name="Rectangle 16">
            <a:extLst>
              <a:ext uri="{FF2B5EF4-FFF2-40B4-BE49-F238E27FC236}">
                <a16:creationId xmlns:a16="http://schemas.microsoft.com/office/drawing/2014/main" id="{87A6E830-FF54-4AED-BDCF-8C24EB8B983D}"/>
              </a:ext>
            </a:extLst>
          </p:cNvPr>
          <p:cNvSpPr/>
          <p:nvPr/>
        </p:nvSpPr>
        <p:spPr>
          <a:xfrm>
            <a:off x="2849395" y="3540233"/>
            <a:ext cx="5899318" cy="684000"/>
          </a:xfrm>
          <a:prstGeom prst="rect">
            <a:avLst/>
          </a:prstGeom>
          <a:solidFill>
            <a:schemeClr val="bg1"/>
          </a:solid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a:solidFill>
                  <a:schemeClr val="tx1"/>
                </a:solidFill>
              </a:rPr>
              <a:t>Metodas pasireiškia kaip tyrimą atliekančių ekspertų grupės sukauptos patirties panaudojimas teikiant bendras įžvalgas ir atliekant skirtingus vertinimus. Metodas skirtas interviu, Lietuvos ir užsienio analizės rezultatų apibendrinimui bei išvadų pateikimui.</a:t>
            </a:r>
          </a:p>
        </p:txBody>
      </p:sp>
      <p:sp>
        <p:nvSpPr>
          <p:cNvPr id="25" name="Isosceles Triangle 24">
            <a:extLst>
              <a:ext uri="{FF2B5EF4-FFF2-40B4-BE49-F238E27FC236}">
                <a16:creationId xmlns:a16="http://schemas.microsoft.com/office/drawing/2014/main" id="{A7C46047-781A-45F5-9528-088ECAA4CABC}"/>
              </a:ext>
            </a:extLst>
          </p:cNvPr>
          <p:cNvSpPr/>
          <p:nvPr/>
        </p:nvSpPr>
        <p:spPr>
          <a:xfrm rot="5400000">
            <a:off x="2276719" y="2094007"/>
            <a:ext cx="767940" cy="8937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lt-LT" sz="1200"/>
          </a:p>
        </p:txBody>
      </p:sp>
      <p:sp>
        <p:nvSpPr>
          <p:cNvPr id="27" name="Isosceles Triangle 26">
            <a:extLst>
              <a:ext uri="{FF2B5EF4-FFF2-40B4-BE49-F238E27FC236}">
                <a16:creationId xmlns:a16="http://schemas.microsoft.com/office/drawing/2014/main" id="{3CA6DA53-023E-4B51-8FC8-53F1AB0E5BB9}"/>
              </a:ext>
            </a:extLst>
          </p:cNvPr>
          <p:cNvSpPr/>
          <p:nvPr/>
        </p:nvSpPr>
        <p:spPr>
          <a:xfrm rot="5400000">
            <a:off x="2317750" y="3837593"/>
            <a:ext cx="680789" cy="8937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lt-LT" sz="1200"/>
          </a:p>
        </p:txBody>
      </p:sp>
      <p:sp>
        <p:nvSpPr>
          <p:cNvPr id="30" name="Rectangle 6">
            <a:extLst>
              <a:ext uri="{FF2B5EF4-FFF2-40B4-BE49-F238E27FC236}">
                <a16:creationId xmlns:a16="http://schemas.microsoft.com/office/drawing/2014/main" id="{21A7676A-A2EA-475E-8DEC-8D55564E3ABC}"/>
              </a:ext>
            </a:extLst>
          </p:cNvPr>
          <p:cNvSpPr/>
          <p:nvPr/>
        </p:nvSpPr>
        <p:spPr>
          <a:xfrm>
            <a:off x="395536" y="2676138"/>
            <a:ext cx="2160736" cy="68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b="1"/>
              <a:t>INTERVIU</a:t>
            </a:r>
          </a:p>
        </p:txBody>
      </p:sp>
      <p:sp>
        <p:nvSpPr>
          <p:cNvPr id="31" name="Rectangle 16">
            <a:extLst>
              <a:ext uri="{FF2B5EF4-FFF2-40B4-BE49-F238E27FC236}">
                <a16:creationId xmlns:a16="http://schemas.microsoft.com/office/drawing/2014/main" id="{F152A163-53F9-4C33-A82A-EDC7CCA960A3}"/>
              </a:ext>
            </a:extLst>
          </p:cNvPr>
          <p:cNvSpPr/>
          <p:nvPr/>
        </p:nvSpPr>
        <p:spPr>
          <a:xfrm>
            <a:off x="2849395" y="2674489"/>
            <a:ext cx="5899318" cy="684000"/>
          </a:xfrm>
          <a:prstGeom prst="rect">
            <a:avLst/>
          </a:prstGeom>
          <a:solidFill>
            <a:schemeClr val="bg1"/>
          </a:solid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200">
                <a:solidFill>
                  <a:schemeClr val="tx1"/>
                </a:solidFill>
              </a:rPr>
              <a:t>Pusiau struktūruoti interviu ir interviu raštu atlikti su aukštųjų mokyklų, pedagogų rengimo centrų, švietimo centrų atstovais, užsienio aukštųjų mokyklų ir valstybinių institucijų, atsakingų už švietimą, atstovais. Viso interviu dalyvavo 16 asmenų. </a:t>
            </a:r>
          </a:p>
        </p:txBody>
      </p:sp>
      <p:sp>
        <p:nvSpPr>
          <p:cNvPr id="32" name="Isosceles Triangle 31">
            <a:extLst>
              <a:ext uri="{FF2B5EF4-FFF2-40B4-BE49-F238E27FC236}">
                <a16:creationId xmlns:a16="http://schemas.microsoft.com/office/drawing/2014/main" id="{00C40385-F094-41C5-9479-CBA336394E3A}"/>
              </a:ext>
            </a:extLst>
          </p:cNvPr>
          <p:cNvSpPr/>
          <p:nvPr/>
        </p:nvSpPr>
        <p:spPr>
          <a:xfrm rot="5400000">
            <a:off x="2317747" y="2970198"/>
            <a:ext cx="680789" cy="89371"/>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lt-LT" sz="1200"/>
          </a:p>
        </p:txBody>
      </p:sp>
      <p:sp>
        <p:nvSpPr>
          <p:cNvPr id="3" name="Rectangle 2">
            <a:extLst>
              <a:ext uri="{FF2B5EF4-FFF2-40B4-BE49-F238E27FC236}">
                <a16:creationId xmlns:a16="http://schemas.microsoft.com/office/drawing/2014/main" id="{5A1D4418-DFD9-4B6B-AE9F-87196A94BE0C}"/>
              </a:ext>
            </a:extLst>
          </p:cNvPr>
          <p:cNvSpPr/>
          <p:nvPr/>
        </p:nvSpPr>
        <p:spPr>
          <a:xfrm>
            <a:off x="395537" y="4725144"/>
            <a:ext cx="2160735" cy="122413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a:solidFill>
                  <a:schemeClr val="tx1"/>
                </a:solidFill>
              </a:rPr>
              <a:t>Lietuvos ir užsienio šalių valstybių PKT sistema analizuota šiais aspektais:</a:t>
            </a:r>
            <a:endParaRPr lang="en-GB" sz="1200">
              <a:solidFill>
                <a:schemeClr val="tx1"/>
              </a:solidFill>
            </a:endParaRPr>
          </a:p>
        </p:txBody>
      </p:sp>
      <p:sp>
        <p:nvSpPr>
          <p:cNvPr id="21" name="Rectangle 16">
            <a:extLst>
              <a:ext uri="{FF2B5EF4-FFF2-40B4-BE49-F238E27FC236}">
                <a16:creationId xmlns:a16="http://schemas.microsoft.com/office/drawing/2014/main" id="{15DF610F-14AF-40A5-AA4B-D3C950C38F45}"/>
              </a:ext>
            </a:extLst>
          </p:cNvPr>
          <p:cNvSpPr/>
          <p:nvPr/>
        </p:nvSpPr>
        <p:spPr>
          <a:xfrm>
            <a:off x="2849395" y="4725144"/>
            <a:ext cx="5899318" cy="1224136"/>
          </a:xfrm>
          <a:prstGeom prst="rect">
            <a:avLst/>
          </a:prstGeom>
          <a:solidFill>
            <a:schemeClr val="bg1"/>
          </a:solidFill>
          <a:ln w="63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200">
                <a:solidFill>
                  <a:schemeClr val="tx1"/>
                </a:solidFill>
              </a:rPr>
              <a:t>Reglamentavimas</a:t>
            </a:r>
          </a:p>
          <a:p>
            <a:pPr marL="171450" indent="-171450" algn="just">
              <a:buFont typeface="Arial" panose="020B0604020202020204" pitchFamily="34" charset="0"/>
              <a:buChar char="•"/>
            </a:pPr>
            <a:r>
              <a:rPr lang="lt-LT" sz="1200">
                <a:solidFill>
                  <a:schemeClr val="tx1"/>
                </a:solidFill>
              </a:rPr>
              <a:t>Finansavimo sistema</a:t>
            </a:r>
          </a:p>
          <a:p>
            <a:pPr marL="171450" indent="-171450" algn="just">
              <a:buFont typeface="Arial" panose="020B0604020202020204" pitchFamily="34" charset="0"/>
              <a:buChar char="•"/>
            </a:pPr>
            <a:r>
              <a:rPr lang="lt-LT" sz="1200">
                <a:solidFill>
                  <a:schemeClr val="tx1"/>
                </a:solidFill>
              </a:rPr>
              <a:t>Poreikių vertinimas</a:t>
            </a:r>
          </a:p>
          <a:p>
            <a:pPr marL="171450" indent="-171450" algn="just">
              <a:buFont typeface="Arial" panose="020B0604020202020204" pitchFamily="34" charset="0"/>
              <a:buChar char="•"/>
            </a:pPr>
            <a:r>
              <a:rPr lang="lt-LT" sz="1200">
                <a:solidFill>
                  <a:schemeClr val="tx1"/>
                </a:solidFill>
              </a:rPr>
              <a:t>Programų rengimas ir vykdymas</a:t>
            </a:r>
          </a:p>
          <a:p>
            <a:pPr marL="171450" indent="-171450" algn="just">
              <a:buFont typeface="Arial" panose="020B0604020202020204" pitchFamily="34" charset="0"/>
              <a:buChar char="•"/>
            </a:pPr>
            <a:r>
              <a:rPr lang="lt-LT" sz="1200">
                <a:solidFill>
                  <a:schemeClr val="tx1"/>
                </a:solidFill>
              </a:rPr>
              <a:t>Stebėsena</a:t>
            </a:r>
          </a:p>
          <a:p>
            <a:pPr marL="171450" indent="-171450" algn="just">
              <a:buFont typeface="Arial" panose="020B0604020202020204" pitchFamily="34" charset="0"/>
              <a:buChar char="•"/>
            </a:pPr>
            <a:r>
              <a:rPr lang="lt-LT" sz="1200">
                <a:solidFill>
                  <a:schemeClr val="tx1"/>
                </a:solidFill>
              </a:rPr>
              <a:t>Kokybės užtikrinimas</a:t>
            </a:r>
          </a:p>
        </p:txBody>
      </p:sp>
      <p:sp>
        <p:nvSpPr>
          <p:cNvPr id="23" name="Isosceles Triangle 22">
            <a:extLst>
              <a:ext uri="{FF2B5EF4-FFF2-40B4-BE49-F238E27FC236}">
                <a16:creationId xmlns:a16="http://schemas.microsoft.com/office/drawing/2014/main" id="{906C6672-D592-4746-A23F-B42E7BEE97AA}"/>
              </a:ext>
            </a:extLst>
          </p:cNvPr>
          <p:cNvSpPr/>
          <p:nvPr/>
        </p:nvSpPr>
        <p:spPr>
          <a:xfrm rot="5400000">
            <a:off x="2317748" y="5292525"/>
            <a:ext cx="680789" cy="8937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lt-LT" sz="1200"/>
          </a:p>
        </p:txBody>
      </p:sp>
    </p:spTree>
    <p:extLst>
      <p:ext uri="{BB962C8B-B14F-4D97-AF65-F5344CB8AC3E}">
        <p14:creationId xmlns:p14="http://schemas.microsoft.com/office/powerpoint/2010/main" val="4859101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7BBD25-4A6B-4BAA-9774-76C528988D90}"/>
              </a:ext>
            </a:extLst>
          </p:cNvPr>
          <p:cNvSpPr>
            <a:spLocks noGrp="1"/>
          </p:cNvSpPr>
          <p:nvPr>
            <p:ph type="title"/>
          </p:nvPr>
        </p:nvSpPr>
        <p:spPr/>
        <p:txBody>
          <a:bodyPr/>
          <a:lstStyle/>
          <a:p>
            <a:r>
              <a:rPr lang="lt-LT" dirty="0"/>
              <a:t>Interviu</a:t>
            </a:r>
            <a:r>
              <a:rPr lang="en-GB" dirty="0"/>
              <a:t> </a:t>
            </a:r>
            <a:r>
              <a:rPr lang="lt-LT" dirty="0"/>
              <a:t>respondentai</a:t>
            </a:r>
          </a:p>
        </p:txBody>
      </p:sp>
      <p:graphicFrame>
        <p:nvGraphicFramePr>
          <p:cNvPr id="5" name="Table 4">
            <a:extLst>
              <a:ext uri="{FF2B5EF4-FFF2-40B4-BE49-F238E27FC236}">
                <a16:creationId xmlns:a16="http://schemas.microsoft.com/office/drawing/2014/main" id="{EAB3966B-163B-40FD-9277-DAA7C1911E65}"/>
              </a:ext>
            </a:extLst>
          </p:cNvPr>
          <p:cNvGraphicFramePr>
            <a:graphicFrameLocks noGrp="1"/>
          </p:cNvGraphicFramePr>
          <p:nvPr>
            <p:extLst>
              <p:ext uri="{D42A27DB-BD31-4B8C-83A1-F6EECF244321}">
                <p14:modId xmlns:p14="http://schemas.microsoft.com/office/powerpoint/2010/main" val="656773226"/>
              </p:ext>
            </p:extLst>
          </p:nvPr>
        </p:nvGraphicFramePr>
        <p:xfrm>
          <a:off x="473199" y="1383284"/>
          <a:ext cx="8197602" cy="2468880"/>
        </p:xfrm>
        <a:graphic>
          <a:graphicData uri="http://schemas.openxmlformats.org/drawingml/2006/table">
            <a:tbl>
              <a:tblPr firstRow="1" bandRow="1">
                <a:tableStyleId>{5C22544A-7EE6-4342-B048-85BDC9FD1C3A}</a:tableStyleId>
              </a:tblPr>
              <a:tblGrid>
                <a:gridCol w="457904">
                  <a:extLst>
                    <a:ext uri="{9D8B030D-6E8A-4147-A177-3AD203B41FA5}">
                      <a16:colId xmlns:a16="http://schemas.microsoft.com/office/drawing/2014/main" val="526680900"/>
                    </a:ext>
                  </a:extLst>
                </a:gridCol>
                <a:gridCol w="3557016">
                  <a:extLst>
                    <a:ext uri="{9D8B030D-6E8A-4147-A177-3AD203B41FA5}">
                      <a16:colId xmlns:a16="http://schemas.microsoft.com/office/drawing/2014/main" val="3141503832"/>
                    </a:ext>
                  </a:extLst>
                </a:gridCol>
                <a:gridCol w="457200">
                  <a:extLst>
                    <a:ext uri="{9D8B030D-6E8A-4147-A177-3AD203B41FA5}">
                      <a16:colId xmlns:a16="http://schemas.microsoft.com/office/drawing/2014/main" val="2756566912"/>
                    </a:ext>
                  </a:extLst>
                </a:gridCol>
                <a:gridCol w="3725482">
                  <a:extLst>
                    <a:ext uri="{9D8B030D-6E8A-4147-A177-3AD203B41FA5}">
                      <a16:colId xmlns:a16="http://schemas.microsoft.com/office/drawing/2014/main" val="1902406316"/>
                    </a:ext>
                  </a:extLst>
                </a:gridCol>
              </a:tblGrid>
              <a:tr h="0">
                <a:tc>
                  <a:txBody>
                    <a:bodyPr/>
                    <a:lstStyle/>
                    <a:p>
                      <a:pPr algn="ctr"/>
                      <a:r>
                        <a:rPr lang="en-GB" sz="900" dirty="0">
                          <a:solidFill>
                            <a:schemeClr val="bg1"/>
                          </a:solidFill>
                        </a:rPr>
                        <a:t>Nr. </a:t>
                      </a:r>
                    </a:p>
                  </a:txBody>
                  <a:tcPr anchor="ctr">
                    <a:solidFill>
                      <a:schemeClr val="bg1">
                        <a:lumMod val="50000"/>
                      </a:schemeClr>
                    </a:solidFill>
                  </a:tcPr>
                </a:tc>
                <a:tc>
                  <a:txBody>
                    <a:bodyPr/>
                    <a:lstStyle/>
                    <a:p>
                      <a:pPr algn="ctr"/>
                      <a:r>
                        <a:rPr lang="lt-LT" sz="900" noProof="0" dirty="0">
                          <a:solidFill>
                            <a:schemeClr val="bg1"/>
                          </a:solidFill>
                        </a:rPr>
                        <a:t>Atstovaujama</a:t>
                      </a:r>
                      <a:r>
                        <a:rPr lang="en-GB" sz="900" dirty="0">
                          <a:solidFill>
                            <a:schemeClr val="bg1"/>
                          </a:solidFill>
                        </a:rPr>
                        <a:t> </a:t>
                      </a:r>
                      <a:r>
                        <a:rPr lang="lt-LT" sz="900" noProof="0" dirty="0">
                          <a:solidFill>
                            <a:schemeClr val="bg1"/>
                          </a:solidFill>
                        </a:rPr>
                        <a:t>institucija</a:t>
                      </a:r>
                      <a:r>
                        <a:rPr lang="en-GB" sz="900" dirty="0">
                          <a:solidFill>
                            <a:schemeClr val="bg1"/>
                          </a:solidFill>
                        </a:rPr>
                        <a:t> / </a:t>
                      </a:r>
                      <a:r>
                        <a:rPr lang="lt-LT" sz="900" dirty="0">
                          <a:solidFill>
                            <a:schemeClr val="bg1"/>
                          </a:solidFill>
                        </a:rPr>
                        <a:t>įstaiga</a:t>
                      </a:r>
                      <a:endParaRPr lang="en-GB" sz="900" dirty="0">
                        <a:solidFill>
                          <a:schemeClr val="bg1"/>
                        </a:solidFill>
                      </a:endParaRPr>
                    </a:p>
                  </a:txBody>
                  <a:tcPr anchor="ctr">
                    <a:solidFill>
                      <a:schemeClr val="bg1">
                        <a:lumMod val="50000"/>
                      </a:schemeClr>
                    </a:solidFill>
                  </a:tcPr>
                </a:tc>
                <a:tc>
                  <a:txBody>
                    <a:bodyPr/>
                    <a:lstStyle/>
                    <a:p>
                      <a:pPr algn="ctr"/>
                      <a:r>
                        <a:rPr lang="lt-LT" sz="900" dirty="0">
                          <a:solidFill>
                            <a:schemeClr val="bg1"/>
                          </a:solidFill>
                        </a:rPr>
                        <a:t>Nr. </a:t>
                      </a:r>
                      <a:endParaRPr lang="en-GB" sz="900" dirty="0">
                        <a:solidFill>
                          <a:schemeClr val="bg1"/>
                        </a:solidFill>
                      </a:endParaRPr>
                    </a:p>
                  </a:txBody>
                  <a:tcPr anchor="ctr">
                    <a:solidFill>
                      <a:schemeClr val="bg1">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t-LT" sz="900" noProof="0" dirty="0">
                          <a:solidFill>
                            <a:schemeClr val="bg1"/>
                          </a:solidFill>
                        </a:rPr>
                        <a:t>Atstovaujama</a:t>
                      </a:r>
                      <a:r>
                        <a:rPr lang="en-GB" sz="900" dirty="0">
                          <a:solidFill>
                            <a:schemeClr val="bg1"/>
                          </a:solidFill>
                        </a:rPr>
                        <a:t> </a:t>
                      </a:r>
                      <a:r>
                        <a:rPr lang="lt-LT" sz="900" noProof="0" dirty="0">
                          <a:solidFill>
                            <a:schemeClr val="bg1"/>
                          </a:solidFill>
                        </a:rPr>
                        <a:t>institucija</a:t>
                      </a:r>
                      <a:r>
                        <a:rPr lang="en-GB" sz="900" dirty="0">
                          <a:solidFill>
                            <a:schemeClr val="bg1"/>
                          </a:solidFill>
                        </a:rPr>
                        <a:t> / </a:t>
                      </a:r>
                      <a:r>
                        <a:rPr lang="lt-LT" sz="900" dirty="0">
                          <a:solidFill>
                            <a:schemeClr val="bg1"/>
                          </a:solidFill>
                        </a:rPr>
                        <a:t>įstaiga</a:t>
                      </a:r>
                      <a:endParaRPr lang="en-GB" sz="900" dirty="0">
                        <a:solidFill>
                          <a:schemeClr val="bg1"/>
                        </a:solidFill>
                      </a:endParaRPr>
                    </a:p>
                  </a:txBody>
                  <a:tcPr anchor="ctr">
                    <a:solidFill>
                      <a:schemeClr val="bg1">
                        <a:lumMod val="50000"/>
                      </a:schemeClr>
                    </a:solidFill>
                  </a:tcPr>
                </a:tc>
                <a:extLst>
                  <a:ext uri="{0D108BD9-81ED-4DB2-BD59-A6C34878D82A}">
                    <a16:rowId xmlns:a16="http://schemas.microsoft.com/office/drawing/2014/main" val="1815457378"/>
                  </a:ext>
                </a:extLst>
              </a:tr>
              <a:tr h="0">
                <a:tc>
                  <a:txBody>
                    <a:bodyPr/>
                    <a:lstStyle/>
                    <a:p>
                      <a:pPr marL="0" indent="0" algn="ctr">
                        <a:buFont typeface="+mj-lt"/>
                        <a:buNone/>
                      </a:pPr>
                      <a:r>
                        <a:rPr lang="en-GB" sz="900" b="0" dirty="0"/>
                        <a:t>1. </a:t>
                      </a:r>
                    </a:p>
                  </a:txBody>
                  <a:tcPr anchor="ctr">
                    <a:solidFill>
                      <a:schemeClr val="bg1">
                        <a:lumMod val="95000"/>
                      </a:schemeClr>
                    </a:solidFill>
                  </a:tcPr>
                </a:tc>
                <a:tc>
                  <a:txBody>
                    <a:bodyPr/>
                    <a:lstStyle/>
                    <a:p>
                      <a:r>
                        <a:rPr lang="lt-LT" sz="900" b="0" dirty="0"/>
                        <a:t>Kauno švietimo inovacijų </a:t>
                      </a:r>
                      <a:r>
                        <a:rPr lang="lt-LT" sz="900" b="0" noProof="0" dirty="0" err="1"/>
                        <a:t>centr</a:t>
                      </a:r>
                      <a:r>
                        <a:rPr lang="en-GB" sz="900" b="0" dirty="0"/>
                        <a:t>as</a:t>
                      </a:r>
                    </a:p>
                  </a:txBody>
                  <a:tcPr anchor="ctr">
                    <a:solidFill>
                      <a:schemeClr val="bg1">
                        <a:lumMod val="95000"/>
                      </a:schemeClr>
                    </a:solidFill>
                  </a:tcPr>
                </a:tc>
                <a:tc>
                  <a:txBody>
                    <a:bodyPr/>
                    <a:lstStyle/>
                    <a:p>
                      <a:pPr algn="ctr"/>
                      <a:r>
                        <a:rPr lang="en-GB" sz="900" b="0" dirty="0"/>
                        <a:t>9.</a:t>
                      </a:r>
                    </a:p>
                  </a:txBody>
                  <a:tcPr anchor="ctr">
                    <a:solidFill>
                      <a:schemeClr val="bg1">
                        <a:lumMod val="95000"/>
                      </a:schemeClr>
                    </a:solidFill>
                  </a:tcPr>
                </a:tc>
                <a:tc>
                  <a:txBody>
                    <a:bodyPr/>
                    <a:lstStyle/>
                    <a:p>
                      <a:r>
                        <a:rPr lang="lt-LT" sz="900" b="0" dirty="0"/>
                        <a:t>Lietuvos moksleivių sąjunga</a:t>
                      </a:r>
                      <a:endParaRPr lang="en-GB" sz="900" b="0" dirty="0"/>
                    </a:p>
                  </a:txBody>
                  <a:tcPr anchor="ctr">
                    <a:solidFill>
                      <a:schemeClr val="bg1">
                        <a:lumMod val="95000"/>
                      </a:schemeClr>
                    </a:solidFill>
                  </a:tcPr>
                </a:tc>
                <a:extLst>
                  <a:ext uri="{0D108BD9-81ED-4DB2-BD59-A6C34878D82A}">
                    <a16:rowId xmlns:a16="http://schemas.microsoft.com/office/drawing/2014/main" val="260575160"/>
                  </a:ext>
                </a:extLst>
              </a:tr>
              <a:tr h="0">
                <a:tc>
                  <a:txBody>
                    <a:bodyPr/>
                    <a:lstStyle/>
                    <a:p>
                      <a:pPr marL="0" indent="0" algn="ctr">
                        <a:buFont typeface="+mj-lt"/>
                        <a:buNone/>
                      </a:pPr>
                      <a:r>
                        <a:rPr lang="en-GB" sz="900" b="0" dirty="0"/>
                        <a:t>2. </a:t>
                      </a:r>
                      <a:r>
                        <a:rPr lang="lt-LT" sz="900" b="0" dirty="0"/>
                        <a:t> </a:t>
                      </a:r>
                      <a:endParaRPr lang="en-GB" sz="900" b="0" dirty="0"/>
                    </a:p>
                  </a:txBody>
                  <a:tcPr anchor="ctr"/>
                </a:tc>
                <a:tc>
                  <a:txBody>
                    <a:bodyPr/>
                    <a:lstStyle/>
                    <a:p>
                      <a:r>
                        <a:rPr lang="lt-LT" sz="900" b="0" dirty="0"/>
                        <a:t>Lietuvos švietimo ir mokslo profesinė </a:t>
                      </a:r>
                      <a:r>
                        <a:rPr lang="lt-LT" sz="900" b="0" noProof="0" dirty="0" err="1"/>
                        <a:t>sąjung</a:t>
                      </a:r>
                      <a:r>
                        <a:rPr lang="en-GB" sz="900" b="0" dirty="0"/>
                        <a:t>a</a:t>
                      </a:r>
                    </a:p>
                  </a:txBody>
                  <a:tcPr anchor="ctr"/>
                </a:tc>
                <a:tc>
                  <a:txBody>
                    <a:bodyPr/>
                    <a:lstStyle/>
                    <a:p>
                      <a:pPr algn="ctr"/>
                      <a:r>
                        <a:rPr lang="en-GB" sz="900" b="0" dirty="0"/>
                        <a:t>10.</a:t>
                      </a:r>
                    </a:p>
                  </a:txBody>
                  <a:tcPr anchor="ctr"/>
                </a:tc>
                <a:tc>
                  <a:txBody>
                    <a:bodyPr/>
                    <a:lstStyle/>
                    <a:p>
                      <a:r>
                        <a:rPr lang="en-GB" sz="900" b="0" dirty="0" err="1"/>
                        <a:t>Švietimo</a:t>
                      </a:r>
                      <a:r>
                        <a:rPr lang="en-GB" sz="900" b="0" dirty="0"/>
                        <a:t> </a:t>
                      </a:r>
                      <a:r>
                        <a:rPr lang="en-GB" sz="900" b="0" dirty="0" err="1"/>
                        <a:t>ir</a:t>
                      </a:r>
                      <a:r>
                        <a:rPr lang="en-GB" sz="900" b="0" dirty="0"/>
                        <a:t> </a:t>
                      </a:r>
                      <a:r>
                        <a:rPr lang="lt-LT" sz="900" b="0" dirty="0"/>
                        <a:t>kultūros</a:t>
                      </a:r>
                      <a:r>
                        <a:rPr lang="en-GB" sz="900" b="0" dirty="0"/>
                        <a:t> </a:t>
                      </a:r>
                      <a:r>
                        <a:rPr lang="en-GB" sz="900" b="0" dirty="0" err="1"/>
                        <a:t>ministerij</a:t>
                      </a:r>
                      <a:r>
                        <a:rPr lang="lt-LT" sz="900" b="0" dirty="0"/>
                        <a:t>a (Suomija)</a:t>
                      </a:r>
                      <a:endParaRPr lang="en-GB" sz="900" b="0" dirty="0"/>
                    </a:p>
                  </a:txBody>
                  <a:tcPr anchor="ctr"/>
                </a:tc>
                <a:extLst>
                  <a:ext uri="{0D108BD9-81ED-4DB2-BD59-A6C34878D82A}">
                    <a16:rowId xmlns:a16="http://schemas.microsoft.com/office/drawing/2014/main" val="1935794126"/>
                  </a:ext>
                </a:extLst>
              </a:tr>
              <a:tr h="0">
                <a:tc>
                  <a:txBody>
                    <a:bodyPr/>
                    <a:lstStyle/>
                    <a:p>
                      <a:pPr marL="0" indent="0" algn="ctr">
                        <a:buFont typeface="+mj-lt"/>
                        <a:buNone/>
                      </a:pPr>
                      <a:r>
                        <a:rPr lang="en-GB" sz="900" b="0" dirty="0"/>
                        <a:t>3. </a:t>
                      </a:r>
                    </a:p>
                  </a:txBody>
                  <a:tcPr anchor="ctr">
                    <a:solidFill>
                      <a:schemeClr val="bg1">
                        <a:lumMod val="95000"/>
                      </a:schemeClr>
                    </a:solidFill>
                  </a:tcPr>
                </a:tc>
                <a:tc>
                  <a:txBody>
                    <a:bodyPr/>
                    <a:lstStyle/>
                    <a:p>
                      <a:r>
                        <a:rPr lang="en-GB" sz="900" b="0" dirty="0"/>
                        <a:t>Utenos </a:t>
                      </a:r>
                      <a:r>
                        <a:rPr lang="lt-LT" sz="900" b="0" noProof="0" dirty="0"/>
                        <a:t>švietimo centras</a:t>
                      </a:r>
                    </a:p>
                  </a:txBody>
                  <a:tcPr anchor="ctr">
                    <a:solidFill>
                      <a:schemeClr val="bg1">
                        <a:lumMod val="95000"/>
                      </a:schemeClr>
                    </a:solidFill>
                  </a:tcPr>
                </a:tc>
                <a:tc>
                  <a:txBody>
                    <a:bodyPr/>
                    <a:lstStyle/>
                    <a:p>
                      <a:pPr algn="ctr"/>
                      <a:r>
                        <a:rPr lang="en-GB" sz="900" b="0" dirty="0"/>
                        <a:t>11.</a:t>
                      </a:r>
                    </a:p>
                  </a:txBody>
                  <a:tcPr anchor="ctr">
                    <a:solidFill>
                      <a:schemeClr val="bg1">
                        <a:lumMod val="95000"/>
                      </a:schemeClr>
                    </a:solidFill>
                  </a:tcPr>
                </a:tc>
                <a:tc>
                  <a:txBody>
                    <a:bodyPr/>
                    <a:lstStyle/>
                    <a:p>
                      <a:r>
                        <a:rPr lang="lt-LT" sz="900" b="0" dirty="0" err="1"/>
                        <a:t>Häme</a:t>
                      </a:r>
                      <a:r>
                        <a:rPr lang="lt-LT" sz="900" b="0" dirty="0"/>
                        <a:t> taikomųjų mokslų universitetas (Suomija)</a:t>
                      </a:r>
                      <a:endParaRPr lang="en-GB" sz="900" b="0" dirty="0"/>
                    </a:p>
                  </a:txBody>
                  <a:tcPr anchor="ctr">
                    <a:solidFill>
                      <a:schemeClr val="bg1">
                        <a:lumMod val="95000"/>
                      </a:schemeClr>
                    </a:solidFill>
                  </a:tcPr>
                </a:tc>
                <a:extLst>
                  <a:ext uri="{0D108BD9-81ED-4DB2-BD59-A6C34878D82A}">
                    <a16:rowId xmlns:a16="http://schemas.microsoft.com/office/drawing/2014/main" val="1581238637"/>
                  </a:ext>
                </a:extLst>
              </a:tr>
              <a:tr h="0">
                <a:tc>
                  <a:txBody>
                    <a:bodyPr/>
                    <a:lstStyle/>
                    <a:p>
                      <a:pPr marL="0" indent="0" algn="ctr">
                        <a:buFont typeface="+mj-lt"/>
                        <a:buNone/>
                      </a:pPr>
                      <a:r>
                        <a:rPr lang="en-GB" sz="900" b="0" dirty="0"/>
                        <a:t>4. </a:t>
                      </a:r>
                    </a:p>
                  </a:txBody>
                  <a:tcPr anchor="ctr"/>
                </a:tc>
                <a:tc>
                  <a:txBody>
                    <a:bodyPr/>
                    <a:lstStyle/>
                    <a:p>
                      <a:pPr algn="just"/>
                      <a:r>
                        <a:rPr lang="lt-LT" sz="900" b="0" noProof="0" dirty="0"/>
                        <a:t>Vytauto Didžiojo universiteto Švietimo akademijos Profesinio tobulinimo </a:t>
                      </a:r>
                      <a:r>
                        <a:rPr lang="lt-LT" sz="900" b="0" noProof="0" dirty="0" err="1"/>
                        <a:t>institut</a:t>
                      </a:r>
                      <a:r>
                        <a:rPr lang="en-GB" sz="900" b="0" noProof="0" dirty="0"/>
                        <a:t>as</a:t>
                      </a:r>
                      <a:endParaRPr lang="lt-LT" sz="900" b="0" noProof="0" dirty="0"/>
                    </a:p>
                  </a:txBody>
                  <a:tcPr anchor="ctr"/>
                </a:tc>
                <a:tc>
                  <a:txBody>
                    <a:bodyPr/>
                    <a:lstStyle/>
                    <a:p>
                      <a:pPr algn="ctr"/>
                      <a:r>
                        <a:rPr lang="en-GB" sz="900" b="0" dirty="0"/>
                        <a:t>12.</a:t>
                      </a:r>
                      <a:endParaRPr lang="lt-LT" sz="900" b="0" dirty="0"/>
                    </a:p>
                  </a:txBody>
                  <a:tcPr anchor="ctr"/>
                </a:tc>
                <a:tc>
                  <a:txBody>
                    <a:bodyPr/>
                    <a:lstStyle/>
                    <a:p>
                      <a:r>
                        <a:rPr lang="lt-LT" sz="900" b="0" dirty="0"/>
                        <a:t>JAMK taikomųjų mokslų universitetas (Suomija)</a:t>
                      </a:r>
                      <a:endParaRPr lang="en-GB" sz="900" b="0" dirty="0"/>
                    </a:p>
                  </a:txBody>
                  <a:tcPr anchor="ctr"/>
                </a:tc>
                <a:extLst>
                  <a:ext uri="{0D108BD9-81ED-4DB2-BD59-A6C34878D82A}">
                    <a16:rowId xmlns:a16="http://schemas.microsoft.com/office/drawing/2014/main" val="276085257"/>
                  </a:ext>
                </a:extLst>
              </a:tr>
              <a:tr h="0">
                <a:tc>
                  <a:txBody>
                    <a:bodyPr/>
                    <a:lstStyle/>
                    <a:p>
                      <a:pPr marL="0" indent="0" algn="ctr">
                        <a:buFontTx/>
                        <a:buNone/>
                      </a:pPr>
                      <a:r>
                        <a:rPr lang="en-GB" sz="900" b="0" dirty="0"/>
                        <a:t>5.</a:t>
                      </a:r>
                    </a:p>
                  </a:txBody>
                  <a:tcPr anchor="ctr"/>
                </a:tc>
                <a:tc>
                  <a:txBody>
                    <a:bodyPr/>
                    <a:lstStyle/>
                    <a:p>
                      <a:pPr algn="just"/>
                      <a:r>
                        <a:rPr lang="lt-LT" sz="900" b="0" dirty="0"/>
                        <a:t>Vilniaus Universiteto Šiaulių akademijos Mokymosi visą gyvenimą </a:t>
                      </a:r>
                      <a:r>
                        <a:rPr lang="lt-LT" sz="900" b="0" dirty="0" err="1"/>
                        <a:t>centr</a:t>
                      </a:r>
                      <a:r>
                        <a:rPr lang="en-GB" sz="900" b="0" dirty="0"/>
                        <a:t>as</a:t>
                      </a:r>
                      <a:r>
                        <a:rPr lang="lt-LT" sz="900" b="0" dirty="0"/>
                        <a:t> </a:t>
                      </a:r>
                      <a:endParaRPr lang="en-GB" sz="900" b="0" dirty="0"/>
                    </a:p>
                  </a:txBody>
                  <a:tcPr anchor="ctr"/>
                </a:tc>
                <a:tc>
                  <a:txBody>
                    <a:bodyPr/>
                    <a:lstStyle/>
                    <a:p>
                      <a:pPr algn="ctr"/>
                      <a:r>
                        <a:rPr lang="en-GB" sz="900" b="0" dirty="0"/>
                        <a:t>13.</a:t>
                      </a:r>
                      <a:endParaRPr lang="lt-LT" sz="900" b="0" dirty="0"/>
                    </a:p>
                  </a:txBody>
                  <a:tcPr anchor="ctr"/>
                </a:tc>
                <a:tc>
                  <a:txBody>
                    <a:bodyPr/>
                    <a:lstStyle/>
                    <a:p>
                      <a:r>
                        <a:rPr lang="en-GB" sz="900" b="0" dirty="0" err="1"/>
                        <a:t>Mokymo</a:t>
                      </a:r>
                      <a:r>
                        <a:rPr lang="en-GB" sz="900" b="0" dirty="0"/>
                        <a:t> </a:t>
                      </a:r>
                      <a:r>
                        <a:rPr lang="en-GB" sz="900" b="0" dirty="0" err="1"/>
                        <a:t>taryba</a:t>
                      </a:r>
                      <a:r>
                        <a:rPr lang="en-GB" sz="900" b="0" dirty="0"/>
                        <a:t> </a:t>
                      </a:r>
                      <a:r>
                        <a:rPr lang="lt-LT" sz="900" b="0" dirty="0"/>
                        <a:t>(Airija)</a:t>
                      </a:r>
                      <a:endParaRPr lang="en-GB" sz="900" b="0" dirty="0"/>
                    </a:p>
                  </a:txBody>
                  <a:tcPr anchor="ctr"/>
                </a:tc>
                <a:extLst>
                  <a:ext uri="{0D108BD9-81ED-4DB2-BD59-A6C34878D82A}">
                    <a16:rowId xmlns:a16="http://schemas.microsoft.com/office/drawing/2014/main" val="372600228"/>
                  </a:ext>
                </a:extLst>
              </a:tr>
              <a:tr h="0">
                <a:tc>
                  <a:txBody>
                    <a:bodyPr/>
                    <a:lstStyle/>
                    <a:p>
                      <a:pPr marL="0" indent="0" algn="ctr">
                        <a:buFontTx/>
                        <a:buNone/>
                      </a:pPr>
                      <a:r>
                        <a:rPr lang="en-GB" sz="900" b="0" dirty="0"/>
                        <a:t>6.</a:t>
                      </a:r>
                    </a:p>
                  </a:txBody>
                  <a:tcPr anchor="ctr"/>
                </a:tc>
                <a:tc>
                  <a:txBody>
                    <a:bodyPr/>
                    <a:lstStyle/>
                    <a:p>
                      <a:r>
                        <a:rPr lang="lt-LT" sz="900" b="0" dirty="0"/>
                        <a:t>Vilniaus universiteto Ugdymo mokslų instituto Pedagogų kompetencijų tobulinimo ir plėtros </a:t>
                      </a:r>
                      <a:r>
                        <a:rPr lang="lt-LT" sz="900" b="0" dirty="0" err="1"/>
                        <a:t>centr</a:t>
                      </a:r>
                      <a:r>
                        <a:rPr lang="en-GB" sz="900" b="0" dirty="0"/>
                        <a:t>as</a:t>
                      </a:r>
                    </a:p>
                  </a:txBody>
                  <a:tcPr anchor="ctr"/>
                </a:tc>
                <a:tc>
                  <a:txBody>
                    <a:bodyPr/>
                    <a:lstStyle/>
                    <a:p>
                      <a:pPr algn="ctr"/>
                      <a:r>
                        <a:rPr lang="en-GB" sz="900" b="0" dirty="0"/>
                        <a:t>14.</a:t>
                      </a:r>
                      <a:endParaRPr lang="lt-LT" sz="900" b="0" dirty="0"/>
                    </a:p>
                  </a:txBody>
                  <a:tcPr anchor="ctr"/>
                </a:tc>
                <a:tc>
                  <a:txBody>
                    <a:bodyPr/>
                    <a:lstStyle/>
                    <a:p>
                      <a:r>
                        <a:rPr lang="lt-LT" sz="900" b="0" i="0" kern="1200" dirty="0">
                          <a:solidFill>
                            <a:schemeClr val="dk1"/>
                          </a:solidFill>
                          <a:latin typeface="+mn-lt"/>
                          <a:ea typeface="+mn-ea"/>
                          <a:cs typeface="+mn-cs"/>
                        </a:rPr>
                        <a:t>PKT paslaugų teikėjas </a:t>
                      </a:r>
                      <a:r>
                        <a:rPr lang="lt-LT" sz="900" b="0" i="1" kern="1200" dirty="0">
                          <a:solidFill>
                            <a:schemeClr val="dk1"/>
                          </a:solidFill>
                          <a:latin typeface="+mn-lt"/>
                          <a:ea typeface="+mn-ea"/>
                          <a:cs typeface="+mn-cs"/>
                        </a:rPr>
                        <a:t>„</a:t>
                      </a:r>
                      <a:r>
                        <a:rPr lang="en-GB" sz="900" b="0" i="1" kern="1200" dirty="0">
                          <a:solidFill>
                            <a:schemeClr val="dk1"/>
                          </a:solidFill>
                          <a:latin typeface="+mn-lt"/>
                          <a:ea typeface="+mn-ea"/>
                          <a:cs typeface="+mn-cs"/>
                        </a:rPr>
                        <a:t>Junior Cycle for Teachers</a:t>
                      </a:r>
                      <a:r>
                        <a:rPr lang="lt-LT" sz="900" b="0" i="1" kern="1200" dirty="0">
                          <a:solidFill>
                            <a:schemeClr val="dk1"/>
                          </a:solidFill>
                          <a:latin typeface="+mn-lt"/>
                          <a:ea typeface="+mn-ea"/>
                          <a:cs typeface="+mn-cs"/>
                        </a:rPr>
                        <a:t>“</a:t>
                      </a:r>
                      <a:r>
                        <a:rPr lang="lt-LT" sz="900" b="0" i="0" kern="1200" dirty="0">
                          <a:solidFill>
                            <a:schemeClr val="dk1"/>
                          </a:solidFill>
                          <a:latin typeface="+mn-lt"/>
                          <a:ea typeface="+mn-ea"/>
                          <a:cs typeface="+mn-cs"/>
                        </a:rPr>
                        <a:t> (Airija)</a:t>
                      </a:r>
                      <a:endParaRPr lang="lt-LT" sz="900" b="0" i="0" dirty="0"/>
                    </a:p>
                  </a:txBody>
                  <a:tcPr anchor="ctr"/>
                </a:tc>
                <a:extLst>
                  <a:ext uri="{0D108BD9-81ED-4DB2-BD59-A6C34878D82A}">
                    <a16:rowId xmlns:a16="http://schemas.microsoft.com/office/drawing/2014/main" val="22055509"/>
                  </a:ext>
                </a:extLst>
              </a:tr>
              <a:tr h="0">
                <a:tc>
                  <a:txBody>
                    <a:bodyPr/>
                    <a:lstStyle/>
                    <a:p>
                      <a:pPr marL="0" indent="0" algn="ctr">
                        <a:buFontTx/>
                        <a:buNone/>
                      </a:pPr>
                      <a:r>
                        <a:rPr lang="en-GB" sz="900" b="0" dirty="0"/>
                        <a:t>7.</a:t>
                      </a:r>
                    </a:p>
                  </a:txBody>
                  <a:tcPr anchor="ctr"/>
                </a:tc>
                <a:tc>
                  <a:txBody>
                    <a:bodyPr/>
                    <a:lstStyle/>
                    <a:p>
                      <a:r>
                        <a:rPr lang="pt-BR" sz="900" b="0" dirty="0"/>
                        <a:t>Klaipėdos miesto pedagogų švietimo ir kultūros centras</a:t>
                      </a:r>
                      <a:endParaRPr lang="en-GB" sz="900" b="0" dirty="0"/>
                    </a:p>
                  </a:txBody>
                  <a:tcPr anchor="ctr"/>
                </a:tc>
                <a:tc rowSpan="2">
                  <a:txBody>
                    <a:bodyPr/>
                    <a:lstStyle/>
                    <a:p>
                      <a:pPr algn="ctr"/>
                      <a:r>
                        <a:rPr lang="en-GB" sz="900" b="0" dirty="0"/>
                        <a:t>15.</a:t>
                      </a:r>
                      <a:endParaRPr lang="lt-LT" sz="900" b="0" dirty="0"/>
                    </a:p>
                  </a:txBody>
                  <a:tcPr anchor="ctr"/>
                </a:tc>
                <a:tc rowSpan="2">
                  <a:txBody>
                    <a:bodyPr/>
                    <a:lstStyle/>
                    <a:p>
                      <a:r>
                        <a:rPr lang="lt-LT" sz="900" b="0" kern="1200" dirty="0">
                          <a:solidFill>
                            <a:schemeClr val="dk1"/>
                          </a:solidFill>
                          <a:latin typeface="+mn-lt"/>
                          <a:ea typeface="+mn-ea"/>
                          <a:cs typeface="+mn-cs"/>
                        </a:rPr>
                        <a:t>Švietimo inspekcija (Nyderlandai)</a:t>
                      </a:r>
                      <a:endParaRPr lang="lt-LT" sz="900" b="0" dirty="0"/>
                    </a:p>
                  </a:txBody>
                  <a:tcPr anchor="ctr"/>
                </a:tc>
                <a:extLst>
                  <a:ext uri="{0D108BD9-81ED-4DB2-BD59-A6C34878D82A}">
                    <a16:rowId xmlns:a16="http://schemas.microsoft.com/office/drawing/2014/main" val="1571492192"/>
                  </a:ext>
                </a:extLst>
              </a:tr>
              <a:tr h="0">
                <a:tc>
                  <a:txBody>
                    <a:bodyPr/>
                    <a:lstStyle/>
                    <a:p>
                      <a:pPr marL="0" indent="0" algn="ctr">
                        <a:buFontTx/>
                        <a:buNone/>
                      </a:pPr>
                      <a:r>
                        <a:rPr lang="en-GB" sz="900" b="0" dirty="0"/>
                        <a:t>8.</a:t>
                      </a:r>
                    </a:p>
                  </a:txBody>
                  <a:tcPr anchor="ctr"/>
                </a:tc>
                <a:tc>
                  <a:txBody>
                    <a:bodyPr/>
                    <a:lstStyle/>
                    <a:p>
                      <a:r>
                        <a:rPr lang="lt-LT" sz="900" b="0" dirty="0"/>
                        <a:t>Lietuvos tėvų forumas</a:t>
                      </a:r>
                      <a:endParaRPr lang="en-GB" sz="900" b="0" dirty="0"/>
                    </a:p>
                  </a:txBody>
                  <a:tcPr anchor="ctr"/>
                </a:tc>
                <a:tc vMerge="1">
                  <a:txBody>
                    <a:bodyPr/>
                    <a:lstStyle/>
                    <a:p>
                      <a:pPr algn="ctr"/>
                      <a:r>
                        <a:rPr lang="en-GB" sz="900" b="0" dirty="0"/>
                        <a:t>19.</a:t>
                      </a:r>
                      <a:endParaRPr lang="lt-LT" sz="900" b="0" dirty="0"/>
                    </a:p>
                  </a:txBody>
                  <a:tcPr anchor="ctr"/>
                </a:tc>
                <a:tc vMerge="1">
                  <a:txBody>
                    <a:bodyPr/>
                    <a:lstStyle/>
                    <a:p>
                      <a:endParaRPr lang="lt-LT" sz="900" b="0" dirty="0"/>
                    </a:p>
                  </a:txBody>
                  <a:tcPr anchor="ctr"/>
                </a:tc>
                <a:extLst>
                  <a:ext uri="{0D108BD9-81ED-4DB2-BD59-A6C34878D82A}">
                    <a16:rowId xmlns:a16="http://schemas.microsoft.com/office/drawing/2014/main" val="2379935186"/>
                  </a:ext>
                </a:extLst>
              </a:tr>
            </a:tbl>
          </a:graphicData>
        </a:graphic>
      </p:graphicFrame>
    </p:spTree>
    <p:extLst>
      <p:ext uri="{BB962C8B-B14F-4D97-AF65-F5344CB8AC3E}">
        <p14:creationId xmlns:p14="http://schemas.microsoft.com/office/powerpoint/2010/main" val="5426125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2F55E-8570-4D2E-B6BB-B1F44BEEC9DA}"/>
              </a:ext>
            </a:extLst>
          </p:cNvPr>
          <p:cNvSpPr>
            <a:spLocks noGrp="1"/>
          </p:cNvSpPr>
          <p:nvPr>
            <p:ph type="title"/>
          </p:nvPr>
        </p:nvSpPr>
        <p:spPr/>
        <p:txBody>
          <a:bodyPr>
            <a:normAutofit/>
          </a:bodyPr>
          <a:lstStyle/>
          <a:p>
            <a:pPr algn="just"/>
            <a:r>
              <a:rPr lang="lt-LT" dirty="0"/>
              <a:t>PKT reglamentavimas</a:t>
            </a:r>
            <a:endParaRPr lang="en-GB" dirty="0"/>
          </a:p>
        </p:txBody>
      </p:sp>
      <p:sp>
        <p:nvSpPr>
          <p:cNvPr id="6" name="Rectangle 5">
            <a:extLst>
              <a:ext uri="{FF2B5EF4-FFF2-40B4-BE49-F238E27FC236}">
                <a16:creationId xmlns:a16="http://schemas.microsoft.com/office/drawing/2014/main" id="{AC071DB2-3854-4748-8DF9-87CC12816191}"/>
              </a:ext>
            </a:extLst>
          </p:cNvPr>
          <p:cNvSpPr/>
          <p:nvPr/>
        </p:nvSpPr>
        <p:spPr>
          <a:xfrm>
            <a:off x="395536" y="1196752"/>
            <a:ext cx="1944216" cy="172819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050">
                <a:solidFill>
                  <a:schemeClr val="tx1"/>
                </a:solidFill>
              </a:rPr>
              <a:t>LR švietimo įstatymas</a:t>
            </a:r>
            <a:endParaRPr lang="en-GB" sz="1050">
              <a:solidFill>
                <a:schemeClr val="tx1"/>
              </a:solidFill>
            </a:endParaRPr>
          </a:p>
        </p:txBody>
      </p:sp>
      <p:sp>
        <p:nvSpPr>
          <p:cNvPr id="7" name="Rectangle 6">
            <a:extLst>
              <a:ext uri="{FF2B5EF4-FFF2-40B4-BE49-F238E27FC236}">
                <a16:creationId xmlns:a16="http://schemas.microsoft.com/office/drawing/2014/main" id="{3CD7ED1C-EFA7-4BAA-863E-9EA2B68456EA}"/>
              </a:ext>
            </a:extLst>
          </p:cNvPr>
          <p:cNvSpPr/>
          <p:nvPr/>
        </p:nvSpPr>
        <p:spPr>
          <a:xfrm>
            <a:off x="2502044" y="1196751"/>
            <a:ext cx="6246419" cy="830333"/>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050">
                <a:solidFill>
                  <a:schemeClr val="tx1"/>
                </a:solidFill>
              </a:rPr>
              <a:t>Nustato, kad </a:t>
            </a:r>
            <a:r>
              <a:rPr lang="lt-LT" sz="1050" b="1">
                <a:solidFill>
                  <a:schemeClr val="tx1"/>
                </a:solidFill>
              </a:rPr>
              <a:t>PKT yra </a:t>
            </a:r>
            <a:r>
              <a:rPr lang="lt-LT" sz="1050">
                <a:solidFill>
                  <a:schemeClr val="tx1"/>
                </a:solidFill>
              </a:rPr>
              <a:t>sudedamoji </a:t>
            </a:r>
            <a:r>
              <a:rPr lang="lt-LT" sz="1050" b="1">
                <a:solidFill>
                  <a:schemeClr val="tx1"/>
                </a:solidFill>
              </a:rPr>
              <a:t>neformaliojo suaugusiųjų švietimo dalis</a:t>
            </a:r>
            <a:r>
              <a:rPr lang="lt-LT" sz="1050">
                <a:solidFill>
                  <a:schemeClr val="tx1"/>
                </a:solidFill>
              </a:rPr>
              <a:t>. </a:t>
            </a:r>
          </a:p>
          <a:p>
            <a:pPr marL="171450" indent="-171450" algn="just">
              <a:buFont typeface="Arial" panose="020B0604020202020204" pitchFamily="34" charset="0"/>
              <a:buChar char="•"/>
            </a:pPr>
            <a:r>
              <a:rPr lang="lt-LT" sz="1050">
                <a:solidFill>
                  <a:schemeClr val="tx1"/>
                </a:solidFill>
              </a:rPr>
              <a:t>Numato </a:t>
            </a:r>
            <a:r>
              <a:rPr lang="lt-LT" sz="1050" b="1">
                <a:solidFill>
                  <a:schemeClr val="tx1"/>
                </a:solidFill>
              </a:rPr>
              <a:t>mokytojų teisę </a:t>
            </a:r>
            <a:r>
              <a:rPr lang="lt-LT" sz="1050">
                <a:solidFill>
                  <a:schemeClr val="tx1"/>
                </a:solidFill>
              </a:rPr>
              <a:t>ne mažiau kaip </a:t>
            </a:r>
            <a:r>
              <a:rPr lang="en-GB" sz="1050">
                <a:solidFill>
                  <a:schemeClr val="tx1"/>
                </a:solidFill>
              </a:rPr>
              <a:t>5 </a:t>
            </a:r>
            <a:r>
              <a:rPr lang="lt-LT" sz="1050">
                <a:solidFill>
                  <a:schemeClr val="tx1"/>
                </a:solidFill>
              </a:rPr>
              <a:t>dienas per metus </a:t>
            </a:r>
            <a:r>
              <a:rPr lang="lt-LT" sz="1050" b="1">
                <a:solidFill>
                  <a:schemeClr val="tx1"/>
                </a:solidFill>
              </a:rPr>
              <a:t>dalyvauti kvalifikacijos tobulinimo renginiuose.</a:t>
            </a:r>
            <a:endParaRPr lang="lt-LT" sz="1050">
              <a:solidFill>
                <a:schemeClr val="tx1"/>
              </a:solidFill>
            </a:endParaRPr>
          </a:p>
          <a:p>
            <a:pPr marL="171450" indent="-171450" algn="just">
              <a:buFont typeface="Arial" panose="020B0604020202020204" pitchFamily="34" charset="0"/>
              <a:buChar char="•"/>
            </a:pPr>
            <a:r>
              <a:rPr lang="lt-LT" sz="1050">
                <a:solidFill>
                  <a:schemeClr val="tx1"/>
                </a:solidFill>
              </a:rPr>
              <a:t>Numato, kad </a:t>
            </a:r>
            <a:r>
              <a:rPr lang="lt-LT" sz="1050" b="1">
                <a:solidFill>
                  <a:schemeClr val="tx1"/>
                </a:solidFill>
              </a:rPr>
              <a:t>PKT programas įgyvendina </a:t>
            </a:r>
            <a:r>
              <a:rPr lang="lt-LT" sz="1050">
                <a:solidFill>
                  <a:schemeClr val="tx1"/>
                </a:solidFill>
              </a:rPr>
              <a:t>švietimo ir mokslo ministro nustatyta tvarka patvirtinti </a:t>
            </a:r>
            <a:r>
              <a:rPr lang="lt-LT" sz="1050" b="1">
                <a:solidFill>
                  <a:schemeClr val="tx1"/>
                </a:solidFill>
              </a:rPr>
              <a:t>pedagogų rengimo centrai kartu su akredituotomis kvalifikacijos tobulinimo įstaigomis</a:t>
            </a:r>
            <a:r>
              <a:rPr lang="lt-LT" sz="1050">
                <a:solidFill>
                  <a:schemeClr val="tx1"/>
                </a:solidFill>
              </a:rPr>
              <a:t>.</a:t>
            </a:r>
          </a:p>
        </p:txBody>
      </p:sp>
      <p:sp>
        <p:nvSpPr>
          <p:cNvPr id="8" name="Rectangle 7">
            <a:extLst>
              <a:ext uri="{FF2B5EF4-FFF2-40B4-BE49-F238E27FC236}">
                <a16:creationId xmlns:a16="http://schemas.microsoft.com/office/drawing/2014/main" id="{06191DFF-6D5D-42CA-A7E5-FB8442CE0067}"/>
              </a:ext>
            </a:extLst>
          </p:cNvPr>
          <p:cNvSpPr/>
          <p:nvPr/>
        </p:nvSpPr>
        <p:spPr>
          <a:xfrm>
            <a:off x="2499498" y="2132856"/>
            <a:ext cx="6246419" cy="792088"/>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050" i="1">
                <a:solidFill>
                  <a:schemeClr val="tx1"/>
                </a:solidFill>
              </a:rPr>
              <a:t>Nuo </a:t>
            </a:r>
            <a:r>
              <a:rPr lang="en-GB" sz="1050" i="1">
                <a:solidFill>
                  <a:schemeClr val="tx1"/>
                </a:solidFill>
              </a:rPr>
              <a:t>2022-09-01 </a:t>
            </a:r>
            <a:r>
              <a:rPr lang="lt-LT" sz="1050" i="1">
                <a:solidFill>
                  <a:schemeClr val="tx1"/>
                </a:solidFill>
              </a:rPr>
              <a:t>įsigaliojančioje redakcijoje numatyta, kad </a:t>
            </a:r>
            <a:r>
              <a:rPr lang="lt-LT" sz="1050" b="1" i="1">
                <a:solidFill>
                  <a:schemeClr val="tx1"/>
                </a:solidFill>
              </a:rPr>
              <a:t>nacionalines PKT programas</a:t>
            </a:r>
            <a:r>
              <a:rPr lang="lt-LT" sz="1050" i="1">
                <a:solidFill>
                  <a:schemeClr val="tx1"/>
                </a:solidFill>
              </a:rPr>
              <a:t> prioritetinėse kvalifikacijos tobulinimo srityse, kurias trejų metų laikotarpiui tvirtina švietimo, mokslo ir sporto ministras, </a:t>
            </a:r>
            <a:r>
              <a:rPr lang="lt-LT" sz="1050" b="1" i="1">
                <a:solidFill>
                  <a:schemeClr val="tx1"/>
                </a:solidFill>
              </a:rPr>
              <a:t>įgyvendina</a:t>
            </a:r>
            <a:r>
              <a:rPr lang="lt-LT" sz="1050" i="1">
                <a:solidFill>
                  <a:schemeClr val="tx1"/>
                </a:solidFill>
              </a:rPr>
              <a:t> švietimo, mokslo ir sporto ministro nustatyta tvarka patvirtinti </a:t>
            </a:r>
            <a:r>
              <a:rPr lang="lt-LT" sz="1050" b="1" i="1">
                <a:solidFill>
                  <a:schemeClr val="tx1"/>
                </a:solidFill>
              </a:rPr>
              <a:t>pedagogų rengimo centrai kartu su kitomis aukštosiomis mokyklomis ir (ar) akredituotomis kvalifikacijos tobulinimo įstaigomis</a:t>
            </a:r>
            <a:r>
              <a:rPr lang="lt-LT" sz="1050" i="1">
                <a:solidFill>
                  <a:schemeClr val="tx1"/>
                </a:solidFill>
              </a:rPr>
              <a:t>.</a:t>
            </a:r>
          </a:p>
        </p:txBody>
      </p:sp>
      <p:sp>
        <p:nvSpPr>
          <p:cNvPr id="9" name="Rectangle 8">
            <a:extLst>
              <a:ext uri="{FF2B5EF4-FFF2-40B4-BE49-F238E27FC236}">
                <a16:creationId xmlns:a16="http://schemas.microsoft.com/office/drawing/2014/main" id="{FF51E8B6-3FE9-4F07-84AF-B5913372F117}"/>
              </a:ext>
            </a:extLst>
          </p:cNvPr>
          <p:cNvSpPr/>
          <p:nvPr/>
        </p:nvSpPr>
        <p:spPr>
          <a:xfrm>
            <a:off x="395536" y="3813018"/>
            <a:ext cx="1944216" cy="144016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050">
                <a:solidFill>
                  <a:schemeClr val="tx1"/>
                </a:solidFill>
              </a:rPr>
              <a:t>Valstybinių ir savivaldybių švietimo įstaigų (išskyrus aukštąsias mokyklas) vadovų, jų pavaduotojų ugdymui, ugdymą organizuojančių skyrių vedėjų, mokytojų, pagalbos mokiniui specialistų kvalifikacijos tobulinimo nuostatai</a:t>
            </a:r>
            <a:endParaRPr lang="en-GB" sz="1050">
              <a:solidFill>
                <a:schemeClr val="tx1"/>
              </a:solidFill>
            </a:endParaRPr>
          </a:p>
        </p:txBody>
      </p:sp>
      <p:sp>
        <p:nvSpPr>
          <p:cNvPr id="10" name="Rectangle 9">
            <a:extLst>
              <a:ext uri="{FF2B5EF4-FFF2-40B4-BE49-F238E27FC236}">
                <a16:creationId xmlns:a16="http://schemas.microsoft.com/office/drawing/2014/main" id="{EBC3E825-D252-42AE-AA10-6BA80774479C}"/>
              </a:ext>
            </a:extLst>
          </p:cNvPr>
          <p:cNvSpPr/>
          <p:nvPr/>
        </p:nvSpPr>
        <p:spPr>
          <a:xfrm>
            <a:off x="2500953" y="3827285"/>
            <a:ext cx="6246419" cy="1440160"/>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050">
                <a:solidFill>
                  <a:schemeClr val="tx1"/>
                </a:solidFill>
              </a:rPr>
              <a:t>Numato, kad pedagoginiai darbuotojai profesines </a:t>
            </a:r>
            <a:r>
              <a:rPr lang="lt-LT" sz="1050" b="1">
                <a:solidFill>
                  <a:schemeClr val="tx1"/>
                </a:solidFill>
              </a:rPr>
              <a:t>kompetencijas gali tobulinti pagal</a:t>
            </a:r>
            <a:r>
              <a:rPr lang="lt-LT" sz="1050">
                <a:solidFill>
                  <a:schemeClr val="tx1"/>
                </a:solidFill>
              </a:rPr>
              <a:t> neformaliojo švietimo </a:t>
            </a:r>
            <a:r>
              <a:rPr lang="lt-LT" sz="1050" b="1">
                <a:solidFill>
                  <a:schemeClr val="tx1"/>
                </a:solidFill>
              </a:rPr>
              <a:t>kvalifikacijos tobulinimo programas (trukmė ne mažesnė kaip </a:t>
            </a:r>
            <a:r>
              <a:rPr lang="en-GB" sz="1050" b="1">
                <a:solidFill>
                  <a:schemeClr val="tx1"/>
                </a:solidFill>
              </a:rPr>
              <a:t>40 </a:t>
            </a:r>
            <a:r>
              <a:rPr lang="lt-LT" sz="1050" b="1">
                <a:solidFill>
                  <a:schemeClr val="tx1"/>
                </a:solidFill>
              </a:rPr>
              <a:t>val.) ir savišvietos būdu</a:t>
            </a:r>
            <a:r>
              <a:rPr lang="lt-LT" sz="1050">
                <a:solidFill>
                  <a:schemeClr val="tx1"/>
                </a:solidFill>
              </a:rPr>
              <a:t>.</a:t>
            </a:r>
          </a:p>
          <a:p>
            <a:pPr marL="171450" indent="-171450" algn="just">
              <a:buFont typeface="Arial" panose="020B0604020202020204" pitchFamily="34" charset="0"/>
              <a:buChar char="•"/>
            </a:pPr>
            <a:r>
              <a:rPr lang="lt-LT" sz="1050">
                <a:solidFill>
                  <a:schemeClr val="tx1"/>
                </a:solidFill>
              </a:rPr>
              <a:t>Numato, kad </a:t>
            </a:r>
            <a:r>
              <a:rPr lang="lt-LT" sz="1050" b="1">
                <a:solidFill>
                  <a:schemeClr val="tx1"/>
                </a:solidFill>
              </a:rPr>
              <a:t>PKT vykdo</a:t>
            </a:r>
            <a:r>
              <a:rPr lang="lt-LT" sz="1050">
                <a:solidFill>
                  <a:schemeClr val="tx1"/>
                </a:solidFill>
              </a:rPr>
              <a:t> švietimo, mokslo ir sporto ministro nustatyta tvarka </a:t>
            </a:r>
            <a:r>
              <a:rPr lang="lt-LT" sz="1050" b="1">
                <a:solidFill>
                  <a:schemeClr val="tx1"/>
                </a:solidFill>
              </a:rPr>
              <a:t>patvirtinti pedagogų rengimo centrai ir akredituotos švietimo įstaigos ar kiti akredituoti švietimo teikėjai.</a:t>
            </a:r>
          </a:p>
          <a:p>
            <a:pPr marL="171450" indent="-171450" algn="just">
              <a:buFont typeface="Arial" panose="020B0604020202020204" pitchFamily="34" charset="0"/>
              <a:buChar char="•"/>
            </a:pPr>
            <a:r>
              <a:rPr lang="lt-LT" sz="1050">
                <a:solidFill>
                  <a:schemeClr val="tx1"/>
                </a:solidFill>
              </a:rPr>
              <a:t>Numato </a:t>
            </a:r>
            <a:r>
              <a:rPr lang="lt-LT" sz="1050" b="1">
                <a:solidFill>
                  <a:schemeClr val="tx1"/>
                </a:solidFill>
              </a:rPr>
              <a:t>PKT vykdytojų funkcijas ir atsakomybes.</a:t>
            </a:r>
          </a:p>
          <a:p>
            <a:pPr marL="171450" indent="-171450" algn="just">
              <a:buFont typeface="Arial" panose="020B0604020202020204" pitchFamily="34" charset="0"/>
              <a:buChar char="•"/>
            </a:pPr>
            <a:r>
              <a:rPr lang="lt-LT" sz="1050">
                <a:solidFill>
                  <a:schemeClr val="tx1"/>
                </a:solidFill>
              </a:rPr>
              <a:t>Numato, kad </a:t>
            </a:r>
            <a:r>
              <a:rPr lang="lt-LT" sz="1050" b="1">
                <a:solidFill>
                  <a:schemeClr val="tx1"/>
                </a:solidFill>
              </a:rPr>
              <a:t>KT yra planuojamas asmens, švietimo įstaigos, savivaldybės ir nacionaliniu lygmenimis</a:t>
            </a:r>
            <a:r>
              <a:rPr lang="lt-LT" sz="1050">
                <a:solidFill>
                  <a:schemeClr val="tx1"/>
                </a:solidFill>
              </a:rPr>
              <a:t>.</a:t>
            </a:r>
          </a:p>
          <a:p>
            <a:pPr marL="171450" indent="-171450" algn="just">
              <a:buFont typeface="Arial" panose="020B0604020202020204" pitchFamily="34" charset="0"/>
              <a:buChar char="•"/>
            </a:pPr>
            <a:r>
              <a:rPr lang="lt-LT" sz="1050">
                <a:solidFill>
                  <a:schemeClr val="tx1"/>
                </a:solidFill>
              </a:rPr>
              <a:t>Numato, </a:t>
            </a:r>
            <a:r>
              <a:rPr lang="lt-LT" sz="1050" b="1">
                <a:solidFill>
                  <a:schemeClr val="tx1"/>
                </a:solidFill>
              </a:rPr>
              <a:t>galimus </a:t>
            </a:r>
            <a:r>
              <a:rPr lang="lt-LT" sz="1050">
                <a:solidFill>
                  <a:schemeClr val="tx1"/>
                </a:solidFill>
              </a:rPr>
              <a:t>pedagoginių darbuotojų </a:t>
            </a:r>
            <a:r>
              <a:rPr lang="lt-LT" sz="1050" b="1">
                <a:solidFill>
                  <a:schemeClr val="tx1"/>
                </a:solidFill>
              </a:rPr>
              <a:t>kvalifikacijos tobulinimo finansavimo šaltinius</a:t>
            </a:r>
            <a:r>
              <a:rPr lang="lt-LT" sz="1050">
                <a:solidFill>
                  <a:schemeClr val="tx1"/>
                </a:solidFill>
              </a:rPr>
              <a:t>. </a:t>
            </a:r>
          </a:p>
          <a:p>
            <a:pPr marL="171450" indent="-171450" algn="just">
              <a:buFont typeface="Arial" panose="020B0604020202020204" pitchFamily="34" charset="0"/>
              <a:buChar char="•"/>
            </a:pPr>
            <a:r>
              <a:rPr lang="lt-LT" sz="1050">
                <a:solidFill>
                  <a:schemeClr val="tx1"/>
                </a:solidFill>
              </a:rPr>
              <a:t>Numato rengiamų </a:t>
            </a:r>
            <a:r>
              <a:rPr lang="lt-LT" sz="1050" b="1">
                <a:solidFill>
                  <a:schemeClr val="tx1"/>
                </a:solidFill>
              </a:rPr>
              <a:t>PKT programų struktūrą</a:t>
            </a:r>
            <a:r>
              <a:rPr lang="lt-LT" sz="1050">
                <a:solidFill>
                  <a:schemeClr val="tx1"/>
                </a:solidFill>
              </a:rPr>
              <a:t>. </a:t>
            </a:r>
          </a:p>
        </p:txBody>
      </p:sp>
      <p:sp>
        <p:nvSpPr>
          <p:cNvPr id="11" name="Rectangle 10">
            <a:extLst>
              <a:ext uri="{FF2B5EF4-FFF2-40B4-BE49-F238E27FC236}">
                <a16:creationId xmlns:a16="http://schemas.microsoft.com/office/drawing/2014/main" id="{5BC99DBD-B557-420D-BFB6-780CD81ECD98}"/>
              </a:ext>
            </a:extLst>
          </p:cNvPr>
          <p:cNvSpPr/>
          <p:nvPr/>
        </p:nvSpPr>
        <p:spPr>
          <a:xfrm>
            <a:off x="395536" y="5373216"/>
            <a:ext cx="1944216" cy="7920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050">
                <a:solidFill>
                  <a:schemeClr val="tx1"/>
                </a:solidFill>
              </a:rPr>
              <a:t>Pedagogų rengimo reglamentas </a:t>
            </a:r>
            <a:endParaRPr lang="en-GB" sz="1050">
              <a:solidFill>
                <a:schemeClr val="tx1"/>
              </a:solidFill>
            </a:endParaRPr>
          </a:p>
        </p:txBody>
      </p:sp>
      <p:sp>
        <p:nvSpPr>
          <p:cNvPr id="12" name="Rectangle 11">
            <a:extLst>
              <a:ext uri="{FF2B5EF4-FFF2-40B4-BE49-F238E27FC236}">
                <a16:creationId xmlns:a16="http://schemas.microsoft.com/office/drawing/2014/main" id="{7DCC6042-9C4B-4EF3-92FF-F8E024061DA2}"/>
              </a:ext>
            </a:extLst>
          </p:cNvPr>
          <p:cNvSpPr/>
          <p:nvPr/>
        </p:nvSpPr>
        <p:spPr>
          <a:xfrm>
            <a:off x="2500952" y="5373216"/>
            <a:ext cx="6246419" cy="792088"/>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050">
                <a:solidFill>
                  <a:schemeClr val="tx1"/>
                </a:solidFill>
              </a:rPr>
              <a:t>Nustato pedagogo kvalifikacijos ir dalykinės kompetencijos įgijimo, pedagoginių studijų programų, pedagoginės stažuotės vykdymo reikalavimai, </a:t>
            </a:r>
            <a:r>
              <a:rPr lang="lt-LT" sz="1050" b="1">
                <a:solidFill>
                  <a:schemeClr val="tx1"/>
                </a:solidFill>
              </a:rPr>
              <a:t>pedagogų profesinio augimo būdai</a:t>
            </a:r>
            <a:r>
              <a:rPr lang="lt-LT" sz="1050">
                <a:solidFill>
                  <a:schemeClr val="tx1"/>
                </a:solidFill>
              </a:rPr>
              <a:t>, </a:t>
            </a:r>
            <a:r>
              <a:rPr lang="lt-LT" sz="1050" b="1">
                <a:solidFill>
                  <a:schemeClr val="tx1"/>
                </a:solidFill>
              </a:rPr>
              <a:t>pedagogų rengimo centrų veiklos reikalavimai</a:t>
            </a:r>
            <a:r>
              <a:rPr lang="lt-LT" sz="1050">
                <a:solidFill>
                  <a:schemeClr val="tx1"/>
                </a:solidFill>
              </a:rPr>
              <a:t>.</a:t>
            </a:r>
          </a:p>
          <a:p>
            <a:pPr marL="171450" indent="-171450" algn="just">
              <a:buFont typeface="Arial" panose="020B0604020202020204" pitchFamily="34" charset="0"/>
              <a:buChar char="•"/>
            </a:pPr>
            <a:r>
              <a:rPr lang="lt-LT" sz="1050">
                <a:solidFill>
                  <a:schemeClr val="tx1"/>
                </a:solidFill>
              </a:rPr>
              <a:t>Nustato </a:t>
            </a:r>
            <a:r>
              <a:rPr lang="lt-LT" sz="1050" b="1">
                <a:solidFill>
                  <a:schemeClr val="tx1"/>
                </a:solidFill>
              </a:rPr>
              <a:t>pedagogų rengimo centrų veiklos kokybės, tinkamumo ir efektyvumo kriterijus</a:t>
            </a:r>
            <a:r>
              <a:rPr lang="lt-LT" sz="1050">
                <a:solidFill>
                  <a:schemeClr val="tx1"/>
                </a:solidFill>
              </a:rPr>
              <a:t>.</a:t>
            </a:r>
          </a:p>
        </p:txBody>
      </p:sp>
      <p:sp>
        <p:nvSpPr>
          <p:cNvPr id="13" name="Rectangle 12">
            <a:extLst>
              <a:ext uri="{FF2B5EF4-FFF2-40B4-BE49-F238E27FC236}">
                <a16:creationId xmlns:a16="http://schemas.microsoft.com/office/drawing/2014/main" id="{82CBA08C-8D00-4969-A7F9-068024BA537E}"/>
              </a:ext>
            </a:extLst>
          </p:cNvPr>
          <p:cNvSpPr/>
          <p:nvPr/>
        </p:nvSpPr>
        <p:spPr>
          <a:xfrm>
            <a:off x="395536" y="3044981"/>
            <a:ext cx="1944216" cy="64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050">
                <a:solidFill>
                  <a:schemeClr val="tx1"/>
                </a:solidFill>
              </a:rPr>
              <a:t>LR neformaliojo suaugusiųjų švietimo ir tęstinio mokymosi įstatymas</a:t>
            </a:r>
            <a:endParaRPr lang="en-GB" sz="1050">
              <a:solidFill>
                <a:schemeClr val="tx1"/>
              </a:solidFill>
            </a:endParaRPr>
          </a:p>
        </p:txBody>
      </p:sp>
      <p:sp>
        <p:nvSpPr>
          <p:cNvPr id="14" name="Rectangle 13">
            <a:extLst>
              <a:ext uri="{FF2B5EF4-FFF2-40B4-BE49-F238E27FC236}">
                <a16:creationId xmlns:a16="http://schemas.microsoft.com/office/drawing/2014/main" id="{9A081D42-E380-4B07-84A5-DC767D291446}"/>
              </a:ext>
            </a:extLst>
          </p:cNvPr>
          <p:cNvSpPr/>
          <p:nvPr/>
        </p:nvSpPr>
        <p:spPr>
          <a:xfrm>
            <a:off x="2500952" y="3044980"/>
            <a:ext cx="6246419" cy="648000"/>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buFont typeface="Arial" panose="020B0604020202020204" pitchFamily="34" charset="0"/>
              <a:buChar char="•"/>
            </a:pPr>
            <a:r>
              <a:rPr lang="lt-LT" sz="1050" b="1">
                <a:solidFill>
                  <a:schemeClr val="tx1"/>
                </a:solidFill>
              </a:rPr>
              <a:t>Reglamentuoja neformalųjį suaugusiųjų švietimą ir tęstinį mokymąsi</a:t>
            </a:r>
            <a:r>
              <a:rPr lang="lt-LT" sz="1050">
                <a:solidFill>
                  <a:schemeClr val="tx1"/>
                </a:solidFill>
              </a:rPr>
              <a:t>, jų sandaros, organizavimo ir finansavimo pagrindus</a:t>
            </a:r>
          </a:p>
        </p:txBody>
      </p:sp>
    </p:spTree>
    <p:extLst>
      <p:ext uri="{BB962C8B-B14F-4D97-AF65-F5344CB8AC3E}">
        <p14:creationId xmlns:p14="http://schemas.microsoft.com/office/powerpoint/2010/main" val="39413096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19412-BA6A-408B-90C4-BF3FB3BE9B6B}"/>
              </a:ext>
            </a:extLst>
          </p:cNvPr>
          <p:cNvSpPr>
            <a:spLocks noGrp="1"/>
          </p:cNvSpPr>
          <p:nvPr>
            <p:ph type="title"/>
          </p:nvPr>
        </p:nvSpPr>
        <p:spPr/>
        <p:txBody>
          <a:bodyPr>
            <a:normAutofit/>
          </a:bodyPr>
          <a:lstStyle/>
          <a:p>
            <a:r>
              <a:rPr lang="lt-LT" dirty="0"/>
              <a:t>PKT planavimas</a:t>
            </a:r>
            <a:endParaRPr lang="en-GB" dirty="0"/>
          </a:p>
        </p:txBody>
      </p:sp>
      <p:sp>
        <p:nvSpPr>
          <p:cNvPr id="10" name="TextBox 47">
            <a:extLst>
              <a:ext uri="{FF2B5EF4-FFF2-40B4-BE49-F238E27FC236}">
                <a16:creationId xmlns:a16="http://schemas.microsoft.com/office/drawing/2014/main" id="{6242EC5F-C648-43A6-A73B-06A99BC75039}"/>
              </a:ext>
            </a:extLst>
          </p:cNvPr>
          <p:cNvSpPr txBox="1"/>
          <p:nvPr/>
        </p:nvSpPr>
        <p:spPr>
          <a:xfrm>
            <a:off x="-491985" y="3912778"/>
            <a:ext cx="3080889" cy="584775"/>
          </a:xfrm>
          <a:prstGeom prst="rect">
            <a:avLst/>
          </a:prstGeom>
          <a:noFill/>
          <a:ln>
            <a:noFill/>
          </a:ln>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lt-LT" sz="1600" b="1" noProof="1">
                <a:solidFill>
                  <a:schemeClr val="accent2"/>
                </a:solidFill>
              </a:rPr>
              <a:t>Savivaldybės vykdomoji </a:t>
            </a:r>
          </a:p>
          <a:p>
            <a:pPr algn="r"/>
            <a:r>
              <a:rPr lang="lt-LT" sz="1600" b="1" noProof="1">
                <a:solidFill>
                  <a:schemeClr val="accent2"/>
                </a:solidFill>
              </a:rPr>
              <a:t>institucija</a:t>
            </a:r>
            <a:endParaRPr lang="pt-BR" sz="1600" b="1" noProof="1">
              <a:solidFill>
                <a:schemeClr val="accent2"/>
              </a:solidFill>
            </a:endParaRPr>
          </a:p>
        </p:txBody>
      </p:sp>
      <p:sp>
        <p:nvSpPr>
          <p:cNvPr id="11" name="TextBox 50">
            <a:extLst>
              <a:ext uri="{FF2B5EF4-FFF2-40B4-BE49-F238E27FC236}">
                <a16:creationId xmlns:a16="http://schemas.microsoft.com/office/drawing/2014/main" id="{7F39ED7D-BBDF-42FD-A2B7-149228F3F1D2}"/>
              </a:ext>
            </a:extLst>
          </p:cNvPr>
          <p:cNvSpPr txBox="1"/>
          <p:nvPr/>
        </p:nvSpPr>
        <p:spPr>
          <a:xfrm>
            <a:off x="-262783" y="1129195"/>
            <a:ext cx="3080889" cy="584775"/>
          </a:xfrm>
          <a:prstGeom prst="rect">
            <a:avLst/>
          </a:prstGeom>
          <a:noFill/>
          <a:ln>
            <a:noFill/>
          </a:ln>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lt-LT" sz="1600" b="1" noProof="1">
                <a:solidFill>
                  <a:schemeClr val="accent2"/>
                </a:solidFill>
              </a:rPr>
              <a:t>Švietimo, mokslo ir sporto ministerija</a:t>
            </a:r>
          </a:p>
        </p:txBody>
      </p:sp>
      <p:grpSp>
        <p:nvGrpSpPr>
          <p:cNvPr id="52" name="Group 51">
            <a:extLst>
              <a:ext uri="{FF2B5EF4-FFF2-40B4-BE49-F238E27FC236}">
                <a16:creationId xmlns:a16="http://schemas.microsoft.com/office/drawing/2014/main" id="{900A041B-517D-4EA6-8B88-046EF485F434}"/>
              </a:ext>
            </a:extLst>
          </p:cNvPr>
          <p:cNvGrpSpPr/>
          <p:nvPr/>
        </p:nvGrpSpPr>
        <p:grpSpPr>
          <a:xfrm>
            <a:off x="2613583" y="1348937"/>
            <a:ext cx="3916834" cy="4160126"/>
            <a:chOff x="2215504" y="1397718"/>
            <a:chExt cx="3916834" cy="4160126"/>
          </a:xfrm>
        </p:grpSpPr>
        <p:sp>
          <p:nvSpPr>
            <p:cNvPr id="13" name="Circle">
              <a:extLst>
                <a:ext uri="{FF2B5EF4-FFF2-40B4-BE49-F238E27FC236}">
                  <a16:creationId xmlns:a16="http://schemas.microsoft.com/office/drawing/2014/main" id="{79326A78-F72C-4A0B-B8A9-326CE36531DF}"/>
                </a:ext>
              </a:extLst>
            </p:cNvPr>
            <p:cNvSpPr/>
            <p:nvPr/>
          </p:nvSpPr>
          <p:spPr>
            <a:xfrm>
              <a:off x="3073032" y="2385000"/>
              <a:ext cx="2088000" cy="2088000"/>
            </a:xfrm>
            <a:prstGeom prst="ellipse">
              <a:avLst/>
            </a:prstGeom>
            <a:solidFill>
              <a:schemeClr val="accent2"/>
            </a:solidFill>
            <a:ln w="12700">
              <a:noFill/>
              <a:miter lim="400000"/>
            </a:ln>
          </p:spPr>
          <p:txBody>
            <a:bodyPr wrap="square"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sz="3000">
                  <a:solidFill>
                    <a:srgbClr val="FFFFFF"/>
                  </a:solidFill>
                </a:defRPr>
              </a:pPr>
              <a:r>
                <a:rPr lang="lt-LT" sz="1200" b="1"/>
                <a:t>Kvalifikacijos tobulinimas yra planuojamas asmens, švietimo įstaigos, savivaldybės ir nacionaliniu lygmenimis</a:t>
              </a:r>
              <a:endParaRPr lang="lt-LT" sz="1200"/>
            </a:p>
          </p:txBody>
        </p:sp>
        <p:sp>
          <p:nvSpPr>
            <p:cNvPr id="14" name="Circle">
              <a:extLst>
                <a:ext uri="{FF2B5EF4-FFF2-40B4-BE49-F238E27FC236}">
                  <a16:creationId xmlns:a16="http://schemas.microsoft.com/office/drawing/2014/main" id="{9C882936-7C75-4F55-A60B-8934CACDC3B8}"/>
                </a:ext>
              </a:extLst>
            </p:cNvPr>
            <p:cNvSpPr>
              <a:spLocks noChangeAspect="1"/>
            </p:cNvSpPr>
            <p:nvPr/>
          </p:nvSpPr>
          <p:spPr>
            <a:xfrm>
              <a:off x="2911152" y="2232787"/>
              <a:ext cx="2392427" cy="2392427"/>
            </a:xfrm>
            <a:prstGeom prst="ellipse">
              <a:avLst/>
            </a:prstGeom>
            <a:noFill/>
            <a:ln w="76200">
              <a:solidFill>
                <a:schemeClr val="accent2"/>
              </a:solidFill>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4" name="Shape">
              <a:extLst>
                <a:ext uri="{FF2B5EF4-FFF2-40B4-BE49-F238E27FC236}">
                  <a16:creationId xmlns:a16="http://schemas.microsoft.com/office/drawing/2014/main" id="{D46B8048-439B-416E-839F-3AFBA515E85B}"/>
                </a:ext>
              </a:extLst>
            </p:cNvPr>
            <p:cNvSpPr/>
            <p:nvPr/>
          </p:nvSpPr>
          <p:spPr>
            <a:xfrm>
              <a:off x="2215504" y="1397718"/>
              <a:ext cx="1171974" cy="4160126"/>
            </a:xfrm>
            <a:custGeom>
              <a:avLst/>
              <a:gdLst/>
              <a:ahLst/>
              <a:cxnLst>
                <a:cxn ang="0">
                  <a:pos x="wd2" y="hd2"/>
                </a:cxn>
                <a:cxn ang="5400000">
                  <a:pos x="wd2" y="hd2"/>
                </a:cxn>
                <a:cxn ang="10800000">
                  <a:pos x="wd2" y="hd2"/>
                </a:cxn>
                <a:cxn ang="16200000">
                  <a:pos x="wd2" y="hd2"/>
                </a:cxn>
              </a:cxnLst>
              <a:rect l="0" t="0" r="r" b="b"/>
              <a:pathLst>
                <a:path w="21567" h="21600" extrusionOk="0">
                  <a:moveTo>
                    <a:pt x="20529" y="21600"/>
                  </a:moveTo>
                  <a:lnTo>
                    <a:pt x="21567" y="21194"/>
                  </a:lnTo>
                  <a:cubicBezTo>
                    <a:pt x="9612" y="18945"/>
                    <a:pt x="1742" y="15099"/>
                    <a:pt x="1742" y="10753"/>
                  </a:cubicBezTo>
                  <a:cubicBezTo>
                    <a:pt x="1742" y="6491"/>
                    <a:pt x="9310" y="2721"/>
                    <a:pt x="20864" y="454"/>
                  </a:cubicBezTo>
                  <a:lnTo>
                    <a:pt x="20094" y="0"/>
                  </a:lnTo>
                  <a:cubicBezTo>
                    <a:pt x="7971" y="2353"/>
                    <a:pt x="0" y="6293"/>
                    <a:pt x="0" y="10753"/>
                  </a:cubicBezTo>
                  <a:cubicBezTo>
                    <a:pt x="-33" y="15279"/>
                    <a:pt x="8138" y="19266"/>
                    <a:pt x="20529" y="21600"/>
                  </a:cubicBezTo>
                  <a:close/>
                </a:path>
              </a:pathLst>
            </a:custGeom>
            <a:solidFill>
              <a:schemeClr val="accent2">
                <a:lumMod val="20000"/>
                <a:lumOff val="80000"/>
              </a:schemeClr>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7" name="Circle">
              <a:extLst>
                <a:ext uri="{FF2B5EF4-FFF2-40B4-BE49-F238E27FC236}">
                  <a16:creationId xmlns:a16="http://schemas.microsoft.com/office/drawing/2014/main" id="{1592FA40-2B1A-46C3-87EB-EB9DFD21294E}"/>
                </a:ext>
              </a:extLst>
            </p:cNvPr>
            <p:cNvSpPr/>
            <p:nvPr/>
          </p:nvSpPr>
          <p:spPr>
            <a:xfrm>
              <a:off x="2438350" y="1666655"/>
              <a:ext cx="666060" cy="666057"/>
            </a:xfrm>
            <a:prstGeom prst="ellipse">
              <a:avLst/>
            </a:prstGeom>
            <a:solidFill>
              <a:schemeClr val="accent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8" name="Circle">
              <a:extLst>
                <a:ext uri="{FF2B5EF4-FFF2-40B4-BE49-F238E27FC236}">
                  <a16:creationId xmlns:a16="http://schemas.microsoft.com/office/drawing/2014/main" id="{32FBA97C-FA3F-42DD-9375-B24660A66CED}"/>
                </a:ext>
              </a:extLst>
            </p:cNvPr>
            <p:cNvSpPr/>
            <p:nvPr/>
          </p:nvSpPr>
          <p:spPr>
            <a:xfrm>
              <a:off x="2519277" y="4624974"/>
              <a:ext cx="666060" cy="666060"/>
            </a:xfrm>
            <a:prstGeom prst="ellipse">
              <a:avLst/>
            </a:prstGeom>
            <a:solidFill>
              <a:schemeClr val="accent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15" name="Shape">
              <a:extLst>
                <a:ext uri="{FF2B5EF4-FFF2-40B4-BE49-F238E27FC236}">
                  <a16:creationId xmlns:a16="http://schemas.microsoft.com/office/drawing/2014/main" id="{935283A5-557E-4E03-8702-738CEA763011}"/>
                </a:ext>
              </a:extLst>
            </p:cNvPr>
            <p:cNvSpPr/>
            <p:nvPr/>
          </p:nvSpPr>
          <p:spPr>
            <a:xfrm>
              <a:off x="4960364" y="1397718"/>
              <a:ext cx="1171974" cy="4160126"/>
            </a:xfrm>
            <a:custGeom>
              <a:avLst/>
              <a:gdLst/>
              <a:ahLst/>
              <a:cxnLst>
                <a:cxn ang="0">
                  <a:pos x="wd2" y="hd2"/>
                </a:cxn>
                <a:cxn ang="5400000">
                  <a:pos x="wd2" y="hd2"/>
                </a:cxn>
                <a:cxn ang="10800000">
                  <a:pos x="wd2" y="hd2"/>
                </a:cxn>
                <a:cxn ang="16200000">
                  <a:pos x="wd2" y="hd2"/>
                </a:cxn>
              </a:cxnLst>
              <a:rect l="0" t="0" r="r" b="b"/>
              <a:pathLst>
                <a:path w="21567" h="21600" extrusionOk="0">
                  <a:moveTo>
                    <a:pt x="1038" y="21600"/>
                  </a:moveTo>
                  <a:lnTo>
                    <a:pt x="0" y="21194"/>
                  </a:lnTo>
                  <a:cubicBezTo>
                    <a:pt x="11955" y="18945"/>
                    <a:pt x="19825" y="15099"/>
                    <a:pt x="19825" y="10753"/>
                  </a:cubicBezTo>
                  <a:cubicBezTo>
                    <a:pt x="19825" y="6491"/>
                    <a:pt x="12257" y="2721"/>
                    <a:pt x="703" y="454"/>
                  </a:cubicBezTo>
                  <a:lnTo>
                    <a:pt x="1473" y="0"/>
                  </a:lnTo>
                  <a:cubicBezTo>
                    <a:pt x="13596" y="2353"/>
                    <a:pt x="21567" y="6293"/>
                    <a:pt x="21567" y="10753"/>
                  </a:cubicBezTo>
                  <a:cubicBezTo>
                    <a:pt x="21600" y="15279"/>
                    <a:pt x="13429" y="19266"/>
                    <a:pt x="1038" y="21600"/>
                  </a:cubicBezTo>
                  <a:close/>
                </a:path>
              </a:pathLst>
            </a:custGeom>
            <a:solidFill>
              <a:schemeClr val="accent2">
                <a:lumMod val="20000"/>
                <a:lumOff val="80000"/>
              </a:schemeClr>
            </a:solidFill>
            <a:ln w="12700">
              <a:miter lim="400000"/>
            </a:ln>
            <a:effectLst/>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17" name="Circle">
              <a:extLst>
                <a:ext uri="{FF2B5EF4-FFF2-40B4-BE49-F238E27FC236}">
                  <a16:creationId xmlns:a16="http://schemas.microsoft.com/office/drawing/2014/main" id="{BAD60055-7EF1-4D3A-8E17-EFD29A6884C0}"/>
                </a:ext>
              </a:extLst>
            </p:cNvPr>
            <p:cNvSpPr/>
            <p:nvPr/>
          </p:nvSpPr>
          <p:spPr>
            <a:xfrm>
              <a:off x="5219788" y="1696400"/>
              <a:ext cx="666060" cy="666060"/>
            </a:xfrm>
            <a:prstGeom prst="ellipse">
              <a:avLst/>
            </a:prstGeom>
            <a:solidFill>
              <a:schemeClr val="accent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sp>
          <p:nvSpPr>
            <p:cNvPr id="18" name="Circle">
              <a:extLst>
                <a:ext uri="{FF2B5EF4-FFF2-40B4-BE49-F238E27FC236}">
                  <a16:creationId xmlns:a16="http://schemas.microsoft.com/office/drawing/2014/main" id="{96017A93-2D25-4B1E-BB16-ADDA91A0FE37}"/>
                </a:ext>
              </a:extLst>
            </p:cNvPr>
            <p:cNvSpPr/>
            <p:nvPr/>
          </p:nvSpPr>
          <p:spPr>
            <a:xfrm>
              <a:off x="5219788" y="4648001"/>
              <a:ext cx="666060" cy="666060"/>
            </a:xfrm>
            <a:prstGeom prst="ellipse">
              <a:avLst/>
            </a:prstGeom>
            <a:solidFill>
              <a:schemeClr val="accent2"/>
            </a:solidFill>
            <a:ln w="12700">
              <a:miter lim="400000"/>
            </a:ln>
          </p:spPr>
          <p:txBody>
            <a:bodyPr lIns="38100" tIns="38100" rIns="38100" bIns="381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3000">
                  <a:solidFill>
                    <a:srgbClr val="FFFFFF"/>
                  </a:solidFill>
                </a:defRPr>
              </a:pPr>
              <a:endParaRPr/>
            </a:p>
          </p:txBody>
        </p:sp>
        <p:pic>
          <p:nvPicPr>
            <p:cNvPr id="38" name="Graphic 37" descr="Classroom outline">
              <a:extLst>
                <a:ext uri="{FF2B5EF4-FFF2-40B4-BE49-F238E27FC236}">
                  <a16:creationId xmlns:a16="http://schemas.microsoft.com/office/drawing/2014/main" id="{87B47CC3-3ED1-416D-B45F-023E245B884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5243844" y="4696909"/>
              <a:ext cx="568244" cy="568244"/>
            </a:xfrm>
            <a:prstGeom prst="rect">
              <a:avLst/>
            </a:prstGeom>
          </p:spPr>
        </p:pic>
        <p:pic>
          <p:nvPicPr>
            <p:cNvPr id="42" name="Graphic 41" descr="Bank outline">
              <a:extLst>
                <a:ext uri="{FF2B5EF4-FFF2-40B4-BE49-F238E27FC236}">
                  <a16:creationId xmlns:a16="http://schemas.microsoft.com/office/drawing/2014/main" id="{FE95DB94-7A9C-4552-8A00-8A9B5BAB3FE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2512144" y="1695106"/>
              <a:ext cx="518472" cy="518472"/>
            </a:xfrm>
            <a:prstGeom prst="rect">
              <a:avLst/>
            </a:prstGeom>
          </p:spPr>
        </p:pic>
        <p:pic>
          <p:nvPicPr>
            <p:cNvPr id="44" name="Graphic 43" descr="Work from home house outline">
              <a:extLst>
                <a:ext uri="{FF2B5EF4-FFF2-40B4-BE49-F238E27FC236}">
                  <a16:creationId xmlns:a16="http://schemas.microsoft.com/office/drawing/2014/main" id="{F9BA38F8-91C9-48CF-A73B-FDF2D23FC20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2576163" y="4657947"/>
              <a:ext cx="510995" cy="510995"/>
            </a:xfrm>
            <a:prstGeom prst="rect">
              <a:avLst/>
            </a:prstGeom>
          </p:spPr>
        </p:pic>
        <p:pic>
          <p:nvPicPr>
            <p:cNvPr id="46" name="Graphic 45" descr="Schoolhouse outline">
              <a:extLst>
                <a:ext uri="{FF2B5EF4-FFF2-40B4-BE49-F238E27FC236}">
                  <a16:creationId xmlns:a16="http://schemas.microsoft.com/office/drawing/2014/main" id="{788C2635-B5DD-4C4A-99FB-AF9B6EC25DE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5256434" y="1693871"/>
              <a:ext cx="588165" cy="588165"/>
            </a:xfrm>
            <a:prstGeom prst="rect">
              <a:avLst/>
            </a:prstGeom>
          </p:spPr>
        </p:pic>
      </p:grpSp>
      <p:sp>
        <p:nvSpPr>
          <p:cNvPr id="47" name="TextBox 46">
            <a:extLst>
              <a:ext uri="{FF2B5EF4-FFF2-40B4-BE49-F238E27FC236}">
                <a16:creationId xmlns:a16="http://schemas.microsoft.com/office/drawing/2014/main" id="{8FDADF26-9FA5-4933-AF21-12EFB1AEC6C0}"/>
              </a:ext>
            </a:extLst>
          </p:cNvPr>
          <p:cNvSpPr txBox="1"/>
          <p:nvPr/>
        </p:nvSpPr>
        <p:spPr>
          <a:xfrm>
            <a:off x="393680" y="1650326"/>
            <a:ext cx="2205190" cy="1223412"/>
          </a:xfrm>
          <a:prstGeom prst="rect">
            <a:avLst/>
          </a:prstGeom>
          <a:noFill/>
          <a:ln>
            <a:noFill/>
          </a:ln>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lt-LT" sz="1050" b="1" noProof="1">
                <a:solidFill>
                  <a:schemeClr val="accent2"/>
                </a:solidFill>
              </a:rPr>
              <a:t>Numato nacionalinio lygmens pedagoginių darbuotojų kvalifikacijos tobulinimo prioritetines kryptis. </a:t>
            </a:r>
          </a:p>
          <a:p>
            <a:pPr algn="r"/>
            <a:r>
              <a:rPr lang="lt-LT" sz="1050" noProof="1">
                <a:solidFill>
                  <a:schemeClr val="accent2"/>
                </a:solidFill>
              </a:rPr>
              <a:t>LR švietimo, mokslo ir sporto ministras ne rečiau nei kas trejus metus tvirtina pedagoginių darbuotojų kvalifikacijos tobulinimo prioritetus  </a:t>
            </a:r>
          </a:p>
        </p:txBody>
      </p:sp>
      <p:sp>
        <p:nvSpPr>
          <p:cNvPr id="48" name="TextBox 47">
            <a:extLst>
              <a:ext uri="{FF2B5EF4-FFF2-40B4-BE49-F238E27FC236}">
                <a16:creationId xmlns:a16="http://schemas.microsoft.com/office/drawing/2014/main" id="{15F034D8-9251-4666-8E70-9E081DE3DFE5}"/>
              </a:ext>
            </a:extLst>
          </p:cNvPr>
          <p:cNvSpPr txBox="1"/>
          <p:nvPr/>
        </p:nvSpPr>
        <p:spPr>
          <a:xfrm>
            <a:off x="465617" y="4438804"/>
            <a:ext cx="2205190" cy="1061829"/>
          </a:xfrm>
          <a:prstGeom prst="rect">
            <a:avLst/>
          </a:prstGeom>
          <a:noFill/>
          <a:ln>
            <a:noFill/>
          </a:ln>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lt-LT" sz="1050" noProof="1">
                <a:solidFill>
                  <a:schemeClr val="accent2"/>
                </a:solidFill>
              </a:rPr>
              <a:t>Ne rečiau nei kartą per metus analizuoja švietimo įstaigų veiklos rezultatus, </a:t>
            </a:r>
            <a:r>
              <a:rPr lang="lt-LT" sz="1050" b="1" noProof="1">
                <a:solidFill>
                  <a:schemeClr val="accent2"/>
                </a:solidFill>
              </a:rPr>
              <a:t>planuoja kvalifikacijos tobulinimą</a:t>
            </a:r>
            <a:r>
              <a:rPr lang="lt-LT" sz="1050" noProof="1">
                <a:solidFill>
                  <a:schemeClr val="accent2"/>
                </a:solidFill>
              </a:rPr>
              <a:t>, bendradarbiaudama su PKT vykdydojais ir </a:t>
            </a:r>
            <a:r>
              <a:rPr lang="lt-LT" sz="1050" b="1" noProof="1">
                <a:solidFill>
                  <a:schemeClr val="accent2"/>
                </a:solidFill>
              </a:rPr>
              <a:t>atsižvelgdama į atitinkamų metų PKT prioritetus</a:t>
            </a:r>
          </a:p>
        </p:txBody>
      </p:sp>
      <p:sp>
        <p:nvSpPr>
          <p:cNvPr id="50" name="TextBox 50">
            <a:extLst>
              <a:ext uri="{FF2B5EF4-FFF2-40B4-BE49-F238E27FC236}">
                <a16:creationId xmlns:a16="http://schemas.microsoft.com/office/drawing/2014/main" id="{892F0508-8BA7-4F04-B456-BFE1E2826403}"/>
              </a:ext>
            </a:extLst>
          </p:cNvPr>
          <p:cNvSpPr txBox="1"/>
          <p:nvPr/>
        </p:nvSpPr>
        <p:spPr>
          <a:xfrm>
            <a:off x="6315857" y="1274832"/>
            <a:ext cx="2636183" cy="338554"/>
          </a:xfrm>
          <a:prstGeom prst="rect">
            <a:avLst/>
          </a:prstGeom>
          <a:noFill/>
          <a:ln>
            <a:noFill/>
          </a:ln>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t-LT" sz="1600" b="1" noProof="1">
                <a:solidFill>
                  <a:schemeClr val="accent2"/>
                </a:solidFill>
              </a:rPr>
              <a:t>Švietimo įstaiga</a:t>
            </a:r>
          </a:p>
        </p:txBody>
      </p:sp>
      <p:sp>
        <p:nvSpPr>
          <p:cNvPr id="51" name="TextBox 50">
            <a:extLst>
              <a:ext uri="{FF2B5EF4-FFF2-40B4-BE49-F238E27FC236}">
                <a16:creationId xmlns:a16="http://schemas.microsoft.com/office/drawing/2014/main" id="{3099C705-963B-4A6B-84CB-4A1710FA7FCF}"/>
              </a:ext>
            </a:extLst>
          </p:cNvPr>
          <p:cNvSpPr txBox="1"/>
          <p:nvPr/>
        </p:nvSpPr>
        <p:spPr>
          <a:xfrm>
            <a:off x="6388294" y="1569044"/>
            <a:ext cx="2668568" cy="1061829"/>
          </a:xfrm>
          <a:prstGeom prst="rect">
            <a:avLst/>
          </a:prstGeom>
          <a:noFill/>
          <a:ln>
            <a:noFill/>
          </a:ln>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t-LT" sz="1050" b="1" noProof="1">
                <a:solidFill>
                  <a:schemeClr val="accent2"/>
                </a:solidFill>
              </a:rPr>
              <a:t>Analizuoja pedagoginių darbuotojų profesinių kompetencijų augimą ir jų poveikį mokinių pasiekimams ir pažangai</a:t>
            </a:r>
            <a:r>
              <a:rPr lang="lt-LT" sz="1050" noProof="1">
                <a:solidFill>
                  <a:schemeClr val="accent2"/>
                </a:solidFill>
              </a:rPr>
              <a:t>; atsižvelgdama į pedagoginių darbuotojų profesinių kompetencijų tobulinimo poreikius </a:t>
            </a:r>
            <a:r>
              <a:rPr lang="lt-LT" sz="1050" b="1" noProof="1">
                <a:solidFill>
                  <a:schemeClr val="accent2"/>
                </a:solidFill>
              </a:rPr>
              <a:t>ir planuoja pedagoginių darbuotojų profesinį tobulėjimą</a:t>
            </a:r>
          </a:p>
        </p:txBody>
      </p:sp>
      <p:sp>
        <p:nvSpPr>
          <p:cNvPr id="53" name="TextBox 50">
            <a:extLst>
              <a:ext uri="{FF2B5EF4-FFF2-40B4-BE49-F238E27FC236}">
                <a16:creationId xmlns:a16="http://schemas.microsoft.com/office/drawing/2014/main" id="{79B4B463-E73D-4C96-928D-3E0120C1DB5E}"/>
              </a:ext>
            </a:extLst>
          </p:cNvPr>
          <p:cNvSpPr txBox="1"/>
          <p:nvPr/>
        </p:nvSpPr>
        <p:spPr>
          <a:xfrm>
            <a:off x="6467852" y="4100250"/>
            <a:ext cx="2636183" cy="338554"/>
          </a:xfrm>
          <a:prstGeom prst="rect">
            <a:avLst/>
          </a:prstGeom>
          <a:noFill/>
          <a:ln>
            <a:noFill/>
          </a:ln>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t-LT" sz="1600" b="1" noProof="1">
                <a:solidFill>
                  <a:schemeClr val="accent2"/>
                </a:solidFill>
              </a:rPr>
              <a:t>Pedagoginis darbuotojas</a:t>
            </a:r>
          </a:p>
        </p:txBody>
      </p:sp>
      <p:sp>
        <p:nvSpPr>
          <p:cNvPr id="54" name="TextBox 53">
            <a:extLst>
              <a:ext uri="{FF2B5EF4-FFF2-40B4-BE49-F238E27FC236}">
                <a16:creationId xmlns:a16="http://schemas.microsoft.com/office/drawing/2014/main" id="{53968768-78B1-4BE3-93FE-1604B4C8406C}"/>
              </a:ext>
            </a:extLst>
          </p:cNvPr>
          <p:cNvSpPr txBox="1"/>
          <p:nvPr/>
        </p:nvSpPr>
        <p:spPr>
          <a:xfrm>
            <a:off x="6388294" y="4390944"/>
            <a:ext cx="2668568" cy="1223412"/>
          </a:xfrm>
          <a:prstGeom prst="rect">
            <a:avLst/>
          </a:prstGeom>
          <a:noFill/>
          <a:ln>
            <a:noFill/>
          </a:ln>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t-LT" sz="1050" noProof="1">
                <a:solidFill>
                  <a:schemeClr val="accent2"/>
                </a:solidFill>
              </a:rPr>
              <a:t>Ne rečiau nei kartą per metus </a:t>
            </a:r>
            <a:r>
              <a:rPr lang="lt-LT" sz="1050" b="1" noProof="1">
                <a:solidFill>
                  <a:schemeClr val="accent2"/>
                </a:solidFill>
              </a:rPr>
              <a:t>įsivertina savo profesines kompetencijas</a:t>
            </a:r>
            <a:r>
              <a:rPr lang="lt-LT" sz="1050" noProof="1">
                <a:solidFill>
                  <a:schemeClr val="accent2"/>
                </a:solidFill>
              </a:rPr>
              <a:t>, remdamasis mokinių pasiekimų ir pažangos, švietimo įstaigos rezultatais bei kitais rodikliais, </a:t>
            </a:r>
            <a:r>
              <a:rPr lang="lt-LT" sz="1050" b="1" noProof="1">
                <a:solidFill>
                  <a:schemeClr val="accent2"/>
                </a:solidFill>
              </a:rPr>
              <a:t>numato kompetencijų tobulinimo tikslus, renkasi profesinių kompetencijų tobulinimo formas ir KT programas</a:t>
            </a:r>
          </a:p>
        </p:txBody>
      </p:sp>
    </p:spTree>
    <p:extLst>
      <p:ext uri="{BB962C8B-B14F-4D97-AF65-F5344CB8AC3E}">
        <p14:creationId xmlns:p14="http://schemas.microsoft.com/office/powerpoint/2010/main" val="1083499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5E3DDC-EAB2-4739-B6F6-341C99C2599E}"/>
              </a:ext>
            </a:extLst>
          </p:cNvPr>
          <p:cNvSpPr>
            <a:spLocks noGrp="1"/>
          </p:cNvSpPr>
          <p:nvPr>
            <p:ph type="title"/>
          </p:nvPr>
        </p:nvSpPr>
        <p:spPr/>
        <p:txBody>
          <a:bodyPr>
            <a:normAutofit/>
          </a:bodyPr>
          <a:lstStyle/>
          <a:p>
            <a:pPr algn="just"/>
            <a:r>
              <a:rPr lang="lt-LT" sz="1400" dirty="0">
                <a:latin typeface="Cambria" panose="02040503050406030204" pitchFamily="18" charset="0"/>
                <a:ea typeface="+mj-ea"/>
                <a:cs typeface="+mj-cs"/>
              </a:rPr>
              <a:t>PKT programų rengimas</a:t>
            </a:r>
            <a:r>
              <a:rPr lang="en-GB" sz="1400" dirty="0">
                <a:latin typeface="Cambria" panose="02040503050406030204" pitchFamily="18" charset="0"/>
                <a:ea typeface="+mj-ea"/>
                <a:cs typeface="+mj-cs"/>
              </a:rPr>
              <a:t>, </a:t>
            </a:r>
            <a:r>
              <a:rPr lang="lt-LT" sz="1400" dirty="0">
                <a:latin typeface="Cambria" panose="02040503050406030204" pitchFamily="18" charset="0"/>
                <a:ea typeface="+mj-ea"/>
                <a:cs typeface="+mj-cs"/>
              </a:rPr>
              <a:t>vykdymas, kokybės užtikrinimas</a:t>
            </a:r>
            <a:r>
              <a:rPr lang="en-GB" sz="1400" dirty="0">
                <a:latin typeface="Cambria" panose="02040503050406030204" pitchFamily="18" charset="0"/>
                <a:ea typeface="+mj-ea"/>
                <a:cs typeface="+mj-cs"/>
              </a:rPr>
              <a:t>. PKT </a:t>
            </a:r>
            <a:r>
              <a:rPr lang="en-GB" sz="1400" dirty="0" err="1">
                <a:latin typeface="Cambria" panose="02040503050406030204" pitchFamily="18" charset="0"/>
                <a:ea typeface="+mj-ea"/>
                <a:cs typeface="+mj-cs"/>
              </a:rPr>
              <a:t>steb</a:t>
            </a:r>
            <a:r>
              <a:rPr lang="lt-LT" sz="1400" dirty="0">
                <a:latin typeface="Cambria" panose="02040503050406030204" pitchFamily="18" charset="0"/>
                <a:ea typeface="+mj-ea"/>
                <a:cs typeface="+mj-cs"/>
              </a:rPr>
              <a:t>ėsena</a:t>
            </a:r>
            <a:endParaRPr lang="en-GB" dirty="0"/>
          </a:p>
        </p:txBody>
      </p:sp>
      <p:grpSp>
        <p:nvGrpSpPr>
          <p:cNvPr id="14" name="Group 13">
            <a:extLst>
              <a:ext uri="{FF2B5EF4-FFF2-40B4-BE49-F238E27FC236}">
                <a16:creationId xmlns:a16="http://schemas.microsoft.com/office/drawing/2014/main" id="{0BCD32BE-ED79-4872-8488-418BA60D9591}"/>
              </a:ext>
            </a:extLst>
          </p:cNvPr>
          <p:cNvGrpSpPr/>
          <p:nvPr/>
        </p:nvGrpSpPr>
        <p:grpSpPr>
          <a:xfrm>
            <a:off x="395536" y="1052513"/>
            <a:ext cx="3168352" cy="5184775"/>
            <a:chOff x="395536" y="1196752"/>
            <a:chExt cx="3456384" cy="4896544"/>
          </a:xfrm>
        </p:grpSpPr>
        <p:sp>
          <p:nvSpPr>
            <p:cNvPr id="7" name="Rectangle 6">
              <a:extLst>
                <a:ext uri="{FF2B5EF4-FFF2-40B4-BE49-F238E27FC236}">
                  <a16:creationId xmlns:a16="http://schemas.microsoft.com/office/drawing/2014/main" id="{67C736DA-BF47-439D-9805-DE8CB9865F1C}"/>
                </a:ext>
              </a:extLst>
            </p:cNvPr>
            <p:cNvSpPr/>
            <p:nvPr/>
          </p:nvSpPr>
          <p:spPr>
            <a:xfrm>
              <a:off x="395536" y="1196752"/>
              <a:ext cx="3456384" cy="48965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solidFill>
                  <a:schemeClr val="tx1"/>
                </a:solidFill>
              </a:endParaRPr>
            </a:p>
          </p:txBody>
        </p:sp>
        <p:graphicFrame>
          <p:nvGraphicFramePr>
            <p:cNvPr id="12" name="Diagram 11">
              <a:extLst>
                <a:ext uri="{FF2B5EF4-FFF2-40B4-BE49-F238E27FC236}">
                  <a16:creationId xmlns:a16="http://schemas.microsoft.com/office/drawing/2014/main" id="{EC3A8DE8-C591-4A91-B0FF-4D1DE970340B}"/>
                </a:ext>
              </a:extLst>
            </p:cNvPr>
            <p:cNvGraphicFramePr/>
            <p:nvPr>
              <p:extLst>
                <p:ext uri="{D42A27DB-BD31-4B8C-83A1-F6EECF244321}">
                  <p14:modId xmlns:p14="http://schemas.microsoft.com/office/powerpoint/2010/main" val="40952238"/>
                </p:ext>
              </p:extLst>
            </p:nvPr>
          </p:nvGraphicFramePr>
          <p:xfrm>
            <a:off x="467544" y="1196752"/>
            <a:ext cx="3384376" cy="48245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sp>
        <p:nvSpPr>
          <p:cNvPr id="15" name="Rectangle 14">
            <a:extLst>
              <a:ext uri="{FF2B5EF4-FFF2-40B4-BE49-F238E27FC236}">
                <a16:creationId xmlns:a16="http://schemas.microsoft.com/office/drawing/2014/main" id="{F88DAB9C-B717-4F56-A6A0-BEC7CBEBAD03}"/>
              </a:ext>
            </a:extLst>
          </p:cNvPr>
          <p:cNvSpPr/>
          <p:nvPr/>
        </p:nvSpPr>
        <p:spPr>
          <a:xfrm>
            <a:off x="3708154" y="1052512"/>
            <a:ext cx="4679427" cy="12243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050" b="1">
                <a:solidFill>
                  <a:schemeClr val="tx1"/>
                </a:solidFill>
              </a:rPr>
              <a:t>PKT programas rengti ir vykdyti gali:</a:t>
            </a:r>
          </a:p>
          <a:p>
            <a:pPr marL="171450" indent="-171450">
              <a:buClr>
                <a:schemeClr val="bg1">
                  <a:lumMod val="85000"/>
                </a:schemeClr>
              </a:buClr>
              <a:buFont typeface="Arial" panose="020B0604020202020204" pitchFamily="34" charset="0"/>
              <a:buChar char="•"/>
            </a:pPr>
            <a:r>
              <a:rPr lang="lt-LT" sz="1050">
                <a:solidFill>
                  <a:schemeClr val="tx1"/>
                </a:solidFill>
              </a:rPr>
              <a:t>Nacionalinė švietimo agentūra</a:t>
            </a:r>
          </a:p>
          <a:p>
            <a:pPr marL="171450" indent="-171450">
              <a:buClr>
                <a:schemeClr val="bg1">
                  <a:lumMod val="85000"/>
                </a:schemeClr>
              </a:buClr>
              <a:buFont typeface="Arial" panose="020B0604020202020204" pitchFamily="34" charset="0"/>
              <a:buChar char="•"/>
            </a:pPr>
            <a:r>
              <a:rPr lang="lt-LT" sz="1050">
                <a:solidFill>
                  <a:schemeClr val="tx1"/>
                </a:solidFill>
              </a:rPr>
              <a:t>Aukštosios mokyklos / pedagogų rengimo centrai</a:t>
            </a:r>
          </a:p>
          <a:p>
            <a:pPr marL="171450" indent="-171450">
              <a:buClr>
                <a:schemeClr val="bg1">
                  <a:lumMod val="85000"/>
                </a:schemeClr>
              </a:buClr>
              <a:buFont typeface="Arial" panose="020B0604020202020204" pitchFamily="34" charset="0"/>
              <a:buChar char="•"/>
            </a:pPr>
            <a:r>
              <a:rPr lang="lt-LT" sz="1050">
                <a:solidFill>
                  <a:schemeClr val="tx1"/>
                </a:solidFill>
              </a:rPr>
              <a:t>Švietimo centrai</a:t>
            </a:r>
          </a:p>
          <a:p>
            <a:pPr marL="171450" indent="-171450">
              <a:buClr>
                <a:schemeClr val="bg1">
                  <a:lumMod val="85000"/>
                </a:schemeClr>
              </a:buClr>
              <a:buFont typeface="Arial" panose="020B0604020202020204" pitchFamily="34" charset="0"/>
              <a:buChar char="•"/>
            </a:pPr>
            <a:r>
              <a:rPr lang="lt-LT" sz="1050">
                <a:solidFill>
                  <a:schemeClr val="tx1"/>
                </a:solidFill>
              </a:rPr>
              <a:t>Privačios įstaigos</a:t>
            </a:r>
          </a:p>
          <a:p>
            <a:pPr marL="171450" indent="-171450">
              <a:buClr>
                <a:schemeClr val="bg1">
                  <a:lumMod val="85000"/>
                </a:schemeClr>
              </a:buClr>
              <a:buFont typeface="Arial" panose="020B0604020202020204" pitchFamily="34" charset="0"/>
              <a:buChar char="•"/>
            </a:pPr>
            <a:r>
              <a:rPr lang="lt-LT" sz="1050">
                <a:solidFill>
                  <a:schemeClr val="tx1"/>
                </a:solidFill>
              </a:rPr>
              <a:t>Nevyriausybinės organizacijos</a:t>
            </a:r>
          </a:p>
        </p:txBody>
      </p:sp>
      <p:sp>
        <p:nvSpPr>
          <p:cNvPr id="16" name="Rectangle 15">
            <a:extLst>
              <a:ext uri="{FF2B5EF4-FFF2-40B4-BE49-F238E27FC236}">
                <a16:creationId xmlns:a16="http://schemas.microsoft.com/office/drawing/2014/main" id="{F77ADBD1-C5AD-4AA2-9774-E1BF3A73B22D}"/>
              </a:ext>
            </a:extLst>
          </p:cNvPr>
          <p:cNvSpPr/>
          <p:nvPr/>
        </p:nvSpPr>
        <p:spPr>
          <a:xfrm>
            <a:off x="3635897" y="2060848"/>
            <a:ext cx="4679427" cy="1224359"/>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050" b="1">
                <a:solidFill>
                  <a:schemeClr val="tx1"/>
                </a:solidFill>
              </a:rPr>
              <a:t>PKT programų kokybės užtikrinimas:</a:t>
            </a:r>
          </a:p>
          <a:p>
            <a:pPr marL="171450" indent="-171450" algn="just">
              <a:buClr>
                <a:schemeClr val="bg1">
                  <a:lumMod val="85000"/>
                </a:schemeClr>
              </a:buClr>
              <a:buFont typeface="Arial" panose="020B0604020202020204" pitchFamily="34" charset="0"/>
              <a:buChar char="•"/>
            </a:pPr>
            <a:r>
              <a:rPr lang="lt-LT" sz="1050">
                <a:solidFill>
                  <a:schemeClr val="tx1"/>
                </a:solidFill>
              </a:rPr>
              <a:t>PKT teikėjai yra </a:t>
            </a:r>
            <a:r>
              <a:rPr lang="lt-LT" sz="1050" b="1">
                <a:solidFill>
                  <a:schemeClr val="tx1"/>
                </a:solidFill>
              </a:rPr>
              <a:t>atsakingi už savo teikiamų paslaugų kokybę</a:t>
            </a:r>
            <a:r>
              <a:rPr lang="lt-LT" sz="1050">
                <a:solidFill>
                  <a:schemeClr val="tx1"/>
                </a:solidFill>
              </a:rPr>
              <a:t>. </a:t>
            </a:r>
          </a:p>
          <a:p>
            <a:pPr marL="171450" indent="-171450" algn="just">
              <a:buClr>
                <a:schemeClr val="bg1">
                  <a:lumMod val="85000"/>
                </a:schemeClr>
              </a:buClr>
              <a:buFont typeface="Arial" panose="020B0604020202020204" pitchFamily="34" charset="0"/>
              <a:buChar char="•"/>
            </a:pPr>
            <a:r>
              <a:rPr lang="lt-LT" sz="1050">
                <a:solidFill>
                  <a:schemeClr val="tx1"/>
                </a:solidFill>
              </a:rPr>
              <a:t>Kokybė užtikrinama per </a:t>
            </a:r>
            <a:r>
              <a:rPr lang="lt-LT" sz="1050" b="1">
                <a:solidFill>
                  <a:schemeClr val="tx1"/>
                </a:solidFill>
              </a:rPr>
              <a:t>vidines akreditacijos procedūras</a:t>
            </a:r>
            <a:r>
              <a:rPr lang="lt-LT" sz="1050">
                <a:solidFill>
                  <a:schemeClr val="tx1"/>
                </a:solidFill>
              </a:rPr>
              <a:t> ir </a:t>
            </a:r>
            <a:r>
              <a:rPr lang="lt-LT" sz="1050" b="1">
                <a:solidFill>
                  <a:schemeClr val="tx1"/>
                </a:solidFill>
              </a:rPr>
              <a:t>grįžtamojo ryšio rinkimą</a:t>
            </a:r>
            <a:r>
              <a:rPr lang="lt-LT" sz="1050">
                <a:solidFill>
                  <a:schemeClr val="tx1"/>
                </a:solidFill>
              </a:rPr>
              <a:t> iš dalyvių. </a:t>
            </a:r>
          </a:p>
          <a:p>
            <a:pPr marL="171450" indent="-171450" algn="just">
              <a:buClr>
                <a:schemeClr val="bg1">
                  <a:lumMod val="85000"/>
                </a:schemeClr>
              </a:buClr>
              <a:buFont typeface="Arial" panose="020B0604020202020204" pitchFamily="34" charset="0"/>
              <a:buChar char="•"/>
            </a:pPr>
            <a:r>
              <a:rPr lang="lt-LT" sz="1050">
                <a:solidFill>
                  <a:schemeClr val="tx1"/>
                </a:solidFill>
              </a:rPr>
              <a:t>PKT teikėjai, rengdami savo PKT programas, </a:t>
            </a:r>
            <a:r>
              <a:rPr lang="lt-LT" sz="1050" b="1">
                <a:solidFill>
                  <a:schemeClr val="tx1"/>
                </a:solidFill>
              </a:rPr>
              <a:t>šalia valstybės nustatytų kiekybinių kokybės kriterijų vadovaujasi vidiniais kokybiniais standartais</a:t>
            </a:r>
            <a:r>
              <a:rPr lang="lt-LT" sz="1050">
                <a:solidFill>
                  <a:schemeClr val="tx1"/>
                </a:solidFill>
              </a:rPr>
              <a:t>. </a:t>
            </a:r>
          </a:p>
        </p:txBody>
      </p:sp>
      <p:sp>
        <p:nvSpPr>
          <p:cNvPr id="17" name="Rectangle 16">
            <a:extLst>
              <a:ext uri="{FF2B5EF4-FFF2-40B4-BE49-F238E27FC236}">
                <a16:creationId xmlns:a16="http://schemas.microsoft.com/office/drawing/2014/main" id="{1BB177F0-3B8B-4022-B8F8-D0456A816DED}"/>
              </a:ext>
            </a:extLst>
          </p:cNvPr>
          <p:cNvSpPr/>
          <p:nvPr/>
        </p:nvSpPr>
        <p:spPr>
          <a:xfrm>
            <a:off x="3635896" y="3284536"/>
            <a:ext cx="5124051" cy="216023"/>
          </a:xfrm>
          <a:prstGeom prst="rect">
            <a:avLst/>
          </a:prstGeom>
          <a:solidFill>
            <a:schemeClr val="bg1">
              <a:lumMod val="7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050" b="1">
                <a:solidFill>
                  <a:schemeClr val="tx1"/>
                </a:solidFill>
              </a:rPr>
              <a:t>PKT stebėsena:</a:t>
            </a:r>
          </a:p>
        </p:txBody>
      </p:sp>
      <p:sp>
        <p:nvSpPr>
          <p:cNvPr id="18" name="Rectangle 17">
            <a:extLst>
              <a:ext uri="{FF2B5EF4-FFF2-40B4-BE49-F238E27FC236}">
                <a16:creationId xmlns:a16="http://schemas.microsoft.com/office/drawing/2014/main" id="{FED663A8-F75A-45A6-B805-CA76A92EC7A6}"/>
              </a:ext>
            </a:extLst>
          </p:cNvPr>
          <p:cNvSpPr/>
          <p:nvPr/>
        </p:nvSpPr>
        <p:spPr>
          <a:xfrm>
            <a:off x="3635897" y="3573016"/>
            <a:ext cx="1727100" cy="360040"/>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050" b="1">
                <a:solidFill>
                  <a:schemeClr val="tx1"/>
                </a:solidFill>
              </a:rPr>
              <a:t>Vidinė arba institucinio lygmens stebėsena</a:t>
            </a:r>
          </a:p>
        </p:txBody>
      </p:sp>
      <p:sp>
        <p:nvSpPr>
          <p:cNvPr id="19" name="Rectangle 18">
            <a:extLst>
              <a:ext uri="{FF2B5EF4-FFF2-40B4-BE49-F238E27FC236}">
                <a16:creationId xmlns:a16="http://schemas.microsoft.com/office/drawing/2014/main" id="{378DF969-C3DF-46D2-8E52-BA0C9B028A56}"/>
              </a:ext>
            </a:extLst>
          </p:cNvPr>
          <p:cNvSpPr/>
          <p:nvPr/>
        </p:nvSpPr>
        <p:spPr>
          <a:xfrm>
            <a:off x="3635896" y="3979186"/>
            <a:ext cx="1727100" cy="2258102"/>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050" b="1">
                <a:solidFill>
                  <a:schemeClr val="tx1"/>
                </a:solidFill>
              </a:rPr>
              <a:t>Vykdo akredituotos PKT įstaigos, pedagogų rengimo centrai, švietimo įstaigos. </a:t>
            </a:r>
          </a:p>
          <a:p>
            <a:pPr algn="just"/>
            <a:r>
              <a:rPr lang="lt-LT" sz="900">
                <a:solidFill>
                  <a:schemeClr val="tx1"/>
                </a:solidFill>
              </a:rPr>
              <a:t>Vidinės / institucinio lygmens stebėsenos metu vertinama institucijos PKT būklės ir kaitos analizė, atliekama PKT rezultatų analizė ir (įsi)vertinimas, atliekamas PKT tobulinimas švietimo įstaigoje, stebėsenos duomenys teikiami savivaldybės lygmens stebėsenai. </a:t>
            </a:r>
          </a:p>
        </p:txBody>
      </p:sp>
      <p:sp>
        <p:nvSpPr>
          <p:cNvPr id="20" name="Rectangle 19">
            <a:extLst>
              <a:ext uri="{FF2B5EF4-FFF2-40B4-BE49-F238E27FC236}">
                <a16:creationId xmlns:a16="http://schemas.microsoft.com/office/drawing/2014/main" id="{DF5C0864-F619-4470-938C-D0FE62C88034}"/>
              </a:ext>
            </a:extLst>
          </p:cNvPr>
          <p:cNvSpPr/>
          <p:nvPr/>
        </p:nvSpPr>
        <p:spPr>
          <a:xfrm>
            <a:off x="5435006" y="3573016"/>
            <a:ext cx="3324941" cy="360040"/>
          </a:xfrm>
          <a:prstGeom prst="rect">
            <a:avLst/>
          </a:prstGeom>
          <a:solidFill>
            <a:schemeClr val="bg1">
              <a:lumMod val="95000"/>
            </a:schemeClr>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050" b="1">
                <a:solidFill>
                  <a:schemeClr val="tx1"/>
                </a:solidFill>
              </a:rPr>
              <a:t>Išorinė stebėsena</a:t>
            </a:r>
          </a:p>
        </p:txBody>
      </p:sp>
      <p:sp>
        <p:nvSpPr>
          <p:cNvPr id="21" name="Rectangle 20">
            <a:extLst>
              <a:ext uri="{FF2B5EF4-FFF2-40B4-BE49-F238E27FC236}">
                <a16:creationId xmlns:a16="http://schemas.microsoft.com/office/drawing/2014/main" id="{8CECCA08-1CA2-46EC-A04C-5149192DC882}"/>
              </a:ext>
            </a:extLst>
          </p:cNvPr>
          <p:cNvSpPr/>
          <p:nvPr/>
        </p:nvSpPr>
        <p:spPr>
          <a:xfrm>
            <a:off x="5579020" y="4013690"/>
            <a:ext cx="3169693" cy="1152000"/>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050" b="1">
                <a:solidFill>
                  <a:schemeClr val="tx1"/>
                </a:solidFill>
              </a:rPr>
              <a:t>Nacionalinio lygmens PKT stebėseną vykdo NŠA, bendradarbiaudama su PKT teikėjais. </a:t>
            </a:r>
          </a:p>
          <a:p>
            <a:pPr algn="just"/>
            <a:r>
              <a:rPr lang="lt-LT" sz="900">
                <a:solidFill>
                  <a:schemeClr val="tx1"/>
                </a:solidFill>
              </a:rPr>
              <a:t>Nacionalinio lygmens PKT stebėsena apima PKT veiklos stebėsenos rodiklių atnaujinimą, PKT teikėjų pateiktų duomenų kaupimą, tvarkymą, apdorojimą ir šių duomenų analizę, PKT būklei nustatyti reikalingų tyrimų įgyvendinimą, PKT stebėsenos ataskaitų rengimą, PKT procesų gerinimo rekomendacijų teikimą. </a:t>
            </a:r>
          </a:p>
        </p:txBody>
      </p:sp>
      <p:sp>
        <p:nvSpPr>
          <p:cNvPr id="22" name="Rectangle 21">
            <a:extLst>
              <a:ext uri="{FF2B5EF4-FFF2-40B4-BE49-F238E27FC236}">
                <a16:creationId xmlns:a16="http://schemas.microsoft.com/office/drawing/2014/main" id="{B085D500-AEC4-4B67-A7FF-B26142113162}"/>
              </a:ext>
            </a:extLst>
          </p:cNvPr>
          <p:cNvSpPr/>
          <p:nvPr/>
        </p:nvSpPr>
        <p:spPr>
          <a:xfrm>
            <a:off x="5579020" y="5255078"/>
            <a:ext cx="3169693" cy="972000"/>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lt-LT" sz="1050" b="1">
                <a:solidFill>
                  <a:schemeClr val="tx1"/>
                </a:solidFill>
              </a:rPr>
              <a:t>Savivaldybės lygmens PKT stebėseną vykdo savivaldybių administracijų švietimo padaliniai. </a:t>
            </a:r>
          </a:p>
          <a:p>
            <a:pPr algn="just"/>
            <a:r>
              <a:rPr lang="lt-LT" sz="900">
                <a:solidFill>
                  <a:schemeClr val="tx1"/>
                </a:solidFill>
              </a:rPr>
              <a:t>Šios stebėsenos metu analizuojami ir apibendrinami savivaldybės švietimo įstaigose surinkti duomenys apie PKT poreikius savivaldos lygmeniu, planuojamos PKT tobulinimo priemonės savivaldybėse, teikiami nacionalinei PKT stebėsenai reikalingi duomenys. </a:t>
            </a:r>
          </a:p>
        </p:txBody>
      </p:sp>
      <p:cxnSp>
        <p:nvCxnSpPr>
          <p:cNvPr id="26" name="Connector: Elbow 25">
            <a:extLst>
              <a:ext uri="{FF2B5EF4-FFF2-40B4-BE49-F238E27FC236}">
                <a16:creationId xmlns:a16="http://schemas.microsoft.com/office/drawing/2014/main" id="{5545D8A0-84B3-45F9-B4A1-1CE58FBB9338}"/>
              </a:ext>
            </a:extLst>
          </p:cNvPr>
          <p:cNvCxnSpPr>
            <a:stCxn id="20" idx="2"/>
            <a:endCxn id="21" idx="1"/>
          </p:cNvCxnSpPr>
          <p:nvPr/>
        </p:nvCxnSpPr>
        <p:spPr>
          <a:xfrm rot="5400000">
            <a:off x="6009932" y="3502145"/>
            <a:ext cx="656634" cy="1518457"/>
          </a:xfrm>
          <a:prstGeom prst="bentConnector4">
            <a:avLst>
              <a:gd name="adj1" fmla="val 6140"/>
              <a:gd name="adj2" fmla="val 108238"/>
            </a:avLst>
          </a:prstGeom>
          <a:ln w="63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59649F7F-6B9F-4101-8919-46808C544D5F}"/>
              </a:ext>
            </a:extLst>
          </p:cNvPr>
          <p:cNvCxnSpPr>
            <a:cxnSpLocks/>
            <a:stCxn id="20" idx="2"/>
            <a:endCxn id="22" idx="1"/>
          </p:cNvCxnSpPr>
          <p:nvPr/>
        </p:nvCxnSpPr>
        <p:spPr>
          <a:xfrm rot="5400000">
            <a:off x="5434238" y="4077839"/>
            <a:ext cx="1808022" cy="1518457"/>
          </a:xfrm>
          <a:prstGeom prst="bentConnector4">
            <a:avLst>
              <a:gd name="adj1" fmla="val 2207"/>
              <a:gd name="adj2" fmla="val 108238"/>
            </a:avLst>
          </a:prstGeom>
          <a:ln w="63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05808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arallelogram 3">
            <a:extLst>
              <a:ext uri="{FF2B5EF4-FFF2-40B4-BE49-F238E27FC236}">
                <a16:creationId xmlns:a16="http://schemas.microsoft.com/office/drawing/2014/main" id="{35DD2BD4-2C59-4687-96FB-15ADE570F9CB}"/>
              </a:ext>
            </a:extLst>
          </p:cNvPr>
          <p:cNvSpPr/>
          <p:nvPr/>
        </p:nvSpPr>
        <p:spPr>
          <a:xfrm>
            <a:off x="404162" y="41395"/>
            <a:ext cx="2052000" cy="266606"/>
          </a:xfrm>
          <a:prstGeom prst="parallelogram">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Estija</a:t>
            </a:r>
          </a:p>
        </p:txBody>
      </p:sp>
      <p:sp>
        <p:nvSpPr>
          <p:cNvPr id="5" name="Parallelogram 4">
            <a:extLst>
              <a:ext uri="{FF2B5EF4-FFF2-40B4-BE49-F238E27FC236}">
                <a16:creationId xmlns:a16="http://schemas.microsoft.com/office/drawing/2014/main" id="{247206C0-5D09-4092-9BF6-F83C998C8935}"/>
              </a:ext>
            </a:extLst>
          </p:cNvPr>
          <p:cNvSpPr/>
          <p:nvPr/>
        </p:nvSpPr>
        <p:spPr>
          <a:xfrm>
            <a:off x="2380131"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Suomija</a:t>
            </a:r>
          </a:p>
        </p:txBody>
      </p:sp>
      <p:sp>
        <p:nvSpPr>
          <p:cNvPr id="6" name="Parallelogram 5">
            <a:extLst>
              <a:ext uri="{FF2B5EF4-FFF2-40B4-BE49-F238E27FC236}">
                <a16:creationId xmlns:a16="http://schemas.microsoft.com/office/drawing/2014/main" id="{44DCF309-A576-4E02-BDDC-16E658D2E8F8}"/>
              </a:ext>
            </a:extLst>
          </p:cNvPr>
          <p:cNvSpPr/>
          <p:nvPr/>
        </p:nvSpPr>
        <p:spPr>
          <a:xfrm>
            <a:off x="4356100"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Nyderlandai</a:t>
            </a:r>
          </a:p>
        </p:txBody>
      </p:sp>
      <p:sp>
        <p:nvSpPr>
          <p:cNvPr id="7" name="Parallelogram 6">
            <a:extLst>
              <a:ext uri="{FF2B5EF4-FFF2-40B4-BE49-F238E27FC236}">
                <a16:creationId xmlns:a16="http://schemas.microsoft.com/office/drawing/2014/main" id="{49FE8141-7AC9-4210-81A4-44D00BED890C}"/>
              </a:ext>
            </a:extLst>
          </p:cNvPr>
          <p:cNvSpPr/>
          <p:nvPr/>
        </p:nvSpPr>
        <p:spPr>
          <a:xfrm>
            <a:off x="6332070" y="41395"/>
            <a:ext cx="2052000" cy="266606"/>
          </a:xfrm>
          <a:prstGeom prst="parallelogram">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lt-LT" sz="1200">
                <a:solidFill>
                  <a:schemeClr val="tx1"/>
                </a:solidFill>
              </a:rPr>
              <a:t>Airija</a:t>
            </a:r>
          </a:p>
        </p:txBody>
      </p:sp>
      <p:sp>
        <p:nvSpPr>
          <p:cNvPr id="8" name="Title 1">
            <a:extLst>
              <a:ext uri="{FF2B5EF4-FFF2-40B4-BE49-F238E27FC236}">
                <a16:creationId xmlns:a16="http://schemas.microsoft.com/office/drawing/2014/main" id="{D4BA0322-774D-45E2-995A-B7FBA65EA31F}"/>
              </a:ext>
            </a:extLst>
          </p:cNvPr>
          <p:cNvSpPr>
            <a:spLocks noGrp="1"/>
          </p:cNvSpPr>
          <p:nvPr>
            <p:ph type="title"/>
          </p:nvPr>
        </p:nvSpPr>
        <p:spPr>
          <a:xfrm>
            <a:off x="402037" y="409922"/>
            <a:ext cx="8499155" cy="497454"/>
          </a:xfrm>
        </p:spPr>
        <p:txBody>
          <a:bodyPr lIns="0" tIns="45720" rIns="91440" bIns="45720" anchor="t">
            <a:normAutofit fontScale="90000"/>
          </a:bodyPr>
          <a:lstStyle/>
          <a:p>
            <a:r>
              <a:rPr lang="lt-LT" dirty="0">
                <a:latin typeface="Cambria"/>
                <a:ea typeface="Cambria"/>
              </a:rPr>
              <a:t>Estijos PKT sistema (</a:t>
            </a:r>
            <a:r>
              <a:rPr lang="en-GB" dirty="0">
                <a:latin typeface="Cambria"/>
                <a:ea typeface="Cambria"/>
              </a:rPr>
              <a:t>1 /2 )</a:t>
            </a:r>
            <a:r>
              <a:rPr lang="lt-LT" dirty="0">
                <a:latin typeface="Cambria"/>
                <a:ea typeface="Cambria"/>
              </a:rPr>
              <a:t/>
            </a:r>
            <a:br>
              <a:rPr lang="lt-LT" dirty="0">
                <a:latin typeface="Cambria"/>
                <a:ea typeface="Cambria"/>
              </a:rPr>
            </a:br>
            <a:r>
              <a:rPr lang="lt-LT" dirty="0">
                <a:latin typeface="Cambria"/>
                <a:ea typeface="Cambria"/>
              </a:rPr>
              <a:t/>
            </a:r>
            <a:br>
              <a:rPr lang="lt-LT" dirty="0">
                <a:latin typeface="Cambria"/>
                <a:ea typeface="Cambria"/>
              </a:rPr>
            </a:br>
            <a:r>
              <a:rPr lang="lt-LT" dirty="0">
                <a:latin typeface="Cambria"/>
                <a:ea typeface="Cambria"/>
              </a:rPr>
              <a:t/>
            </a:r>
            <a:br>
              <a:rPr lang="lt-LT" dirty="0">
                <a:latin typeface="Cambria"/>
                <a:ea typeface="Cambria"/>
              </a:rPr>
            </a:br>
            <a:r>
              <a:rPr lang="lt-LT" dirty="0">
                <a:latin typeface="Cambria"/>
                <a:ea typeface="Cambria"/>
              </a:rPr>
              <a:t>                                 </a:t>
            </a:r>
            <a:r>
              <a:rPr lang="lt-LT" dirty="0"/>
              <a:t/>
            </a:r>
            <a:br>
              <a:rPr lang="lt-LT" dirty="0"/>
            </a:br>
            <a:endParaRPr lang="lt-LT" dirty="0"/>
          </a:p>
        </p:txBody>
      </p:sp>
      <p:grpSp>
        <p:nvGrpSpPr>
          <p:cNvPr id="21" name="Group 20">
            <a:extLst>
              <a:ext uri="{FF2B5EF4-FFF2-40B4-BE49-F238E27FC236}">
                <a16:creationId xmlns:a16="http://schemas.microsoft.com/office/drawing/2014/main" id="{E22705AF-C88B-4341-A23B-831D8B0F2B62}"/>
              </a:ext>
            </a:extLst>
          </p:cNvPr>
          <p:cNvGrpSpPr/>
          <p:nvPr/>
        </p:nvGrpSpPr>
        <p:grpSpPr>
          <a:xfrm>
            <a:off x="406686" y="2190955"/>
            <a:ext cx="8354911" cy="394293"/>
            <a:chOff x="272871" y="3027297"/>
            <a:chExt cx="8354911" cy="394293"/>
          </a:xfrm>
        </p:grpSpPr>
        <p:sp>
          <p:nvSpPr>
            <p:cNvPr id="19" name="Rectangle 18">
              <a:extLst>
                <a:ext uri="{FF2B5EF4-FFF2-40B4-BE49-F238E27FC236}">
                  <a16:creationId xmlns:a16="http://schemas.microsoft.com/office/drawing/2014/main" id="{6761DB2B-9A99-4B99-905C-3962E3DFE434}"/>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Finansavimas</a:t>
              </a:r>
            </a:p>
          </p:txBody>
        </p:sp>
        <p:cxnSp>
          <p:nvCxnSpPr>
            <p:cNvPr id="20" name="Straight Arrow Connector 19">
              <a:extLst>
                <a:ext uri="{FF2B5EF4-FFF2-40B4-BE49-F238E27FC236}">
                  <a16:creationId xmlns:a16="http://schemas.microsoft.com/office/drawing/2014/main" id="{CB55DD8A-999B-47AE-BE89-CFB3CD0A8F3C}"/>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37BC4D6-76DB-40CD-AEC7-B336BDE348CD}"/>
              </a:ext>
            </a:extLst>
          </p:cNvPr>
          <p:cNvGrpSpPr/>
          <p:nvPr/>
        </p:nvGrpSpPr>
        <p:grpSpPr>
          <a:xfrm>
            <a:off x="395534" y="863959"/>
            <a:ext cx="8354911" cy="394293"/>
            <a:chOff x="272871" y="3027297"/>
            <a:chExt cx="8354911" cy="394293"/>
          </a:xfrm>
        </p:grpSpPr>
        <p:sp>
          <p:nvSpPr>
            <p:cNvPr id="26" name="Rectangle 25">
              <a:extLst>
                <a:ext uri="{FF2B5EF4-FFF2-40B4-BE49-F238E27FC236}">
                  <a16:creationId xmlns:a16="http://schemas.microsoft.com/office/drawing/2014/main" id="{75909F3D-47DF-49E5-B8AD-69EEF5DB3147}"/>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Reglamentavimas</a:t>
              </a:r>
            </a:p>
          </p:txBody>
        </p:sp>
        <p:cxnSp>
          <p:nvCxnSpPr>
            <p:cNvPr id="27" name="Straight Arrow Connector 26">
              <a:extLst>
                <a:ext uri="{FF2B5EF4-FFF2-40B4-BE49-F238E27FC236}">
                  <a16:creationId xmlns:a16="http://schemas.microsoft.com/office/drawing/2014/main" id="{78D7AFB1-BA5C-4A1B-9045-68AB667DBE9B}"/>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ADEE0810-9935-4643-89FE-33606C636F54}"/>
              </a:ext>
            </a:extLst>
          </p:cNvPr>
          <p:cNvGrpSpPr/>
          <p:nvPr/>
        </p:nvGrpSpPr>
        <p:grpSpPr>
          <a:xfrm>
            <a:off x="400190" y="1321420"/>
            <a:ext cx="8359092" cy="415498"/>
            <a:chOff x="400190" y="1633654"/>
            <a:chExt cx="8359092" cy="415498"/>
          </a:xfrm>
        </p:grpSpPr>
        <p:sp>
          <p:nvSpPr>
            <p:cNvPr id="17" name="TextBox 16">
              <a:extLst>
                <a:ext uri="{FF2B5EF4-FFF2-40B4-BE49-F238E27FC236}">
                  <a16:creationId xmlns:a16="http://schemas.microsoft.com/office/drawing/2014/main" id="{3943F60A-B91C-4B98-9E64-78FCCC2F3D54}"/>
                </a:ext>
              </a:extLst>
            </p:cNvPr>
            <p:cNvSpPr txBox="1"/>
            <p:nvPr/>
          </p:nvSpPr>
          <p:spPr>
            <a:xfrm>
              <a:off x="400190" y="1713795"/>
              <a:ext cx="2239403"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lt-LT" sz="1050"/>
                <a:t>Suaugusiųjų švietimo įstatymas </a:t>
              </a:r>
              <a:endParaRPr lang="en-GB" sz="1050"/>
            </a:p>
          </p:txBody>
        </p:sp>
        <p:sp>
          <p:nvSpPr>
            <p:cNvPr id="31" name="TextBox 30">
              <a:extLst>
                <a:ext uri="{FF2B5EF4-FFF2-40B4-BE49-F238E27FC236}">
                  <a16:creationId xmlns:a16="http://schemas.microsoft.com/office/drawing/2014/main" id="{3594246A-D1E7-4360-9D2D-BE94E233B41D}"/>
                </a:ext>
              </a:extLst>
            </p:cNvPr>
            <p:cNvSpPr txBox="1"/>
            <p:nvPr/>
          </p:nvSpPr>
          <p:spPr>
            <a:xfrm>
              <a:off x="2715322" y="1633654"/>
              <a:ext cx="6043960"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lt-LT" sz="1050"/>
                <a:t>Numato kvalifikacijos tobulinimo įstaigos  kvalifikacijos tobulinimo reikalavimus ir kvalifikacijos tobulinimo finansavimo pagrindus.</a:t>
              </a:r>
              <a:endParaRPr lang="en-GB" sz="1050"/>
            </a:p>
          </p:txBody>
        </p:sp>
      </p:grpSp>
      <p:grpSp>
        <p:nvGrpSpPr>
          <p:cNvPr id="35" name="Group 34">
            <a:extLst>
              <a:ext uri="{FF2B5EF4-FFF2-40B4-BE49-F238E27FC236}">
                <a16:creationId xmlns:a16="http://schemas.microsoft.com/office/drawing/2014/main" id="{58A120A3-C995-4456-8935-37B9EF9F8C61}"/>
              </a:ext>
            </a:extLst>
          </p:cNvPr>
          <p:cNvGrpSpPr/>
          <p:nvPr/>
        </p:nvGrpSpPr>
        <p:grpSpPr>
          <a:xfrm>
            <a:off x="407020" y="1918010"/>
            <a:ext cx="8207295" cy="253917"/>
            <a:chOff x="440474" y="2575931"/>
            <a:chExt cx="8207295" cy="253917"/>
          </a:xfrm>
        </p:grpSpPr>
        <p:sp>
          <p:nvSpPr>
            <p:cNvPr id="33" name="TextBox 32">
              <a:extLst>
                <a:ext uri="{FF2B5EF4-FFF2-40B4-BE49-F238E27FC236}">
                  <a16:creationId xmlns:a16="http://schemas.microsoft.com/office/drawing/2014/main" id="{329DBB42-0C2E-44CE-AEBF-0E418ED6416A}"/>
                </a:ext>
              </a:extLst>
            </p:cNvPr>
            <p:cNvSpPr txBox="1"/>
            <p:nvPr/>
          </p:nvSpPr>
          <p:spPr>
            <a:xfrm>
              <a:off x="440474" y="2575932"/>
              <a:ext cx="2163336"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lt-LT" sz="1050">
                  <a:ea typeface="+mn-lt"/>
                  <a:cs typeface="+mn-lt"/>
                </a:rPr>
                <a:t>Mokytojų profesiniai standartai</a:t>
              </a:r>
              <a:endParaRPr lang="en-US"/>
            </a:p>
          </p:txBody>
        </p:sp>
        <p:sp>
          <p:nvSpPr>
            <p:cNvPr id="34" name="TextBox 33">
              <a:extLst>
                <a:ext uri="{FF2B5EF4-FFF2-40B4-BE49-F238E27FC236}">
                  <a16:creationId xmlns:a16="http://schemas.microsoft.com/office/drawing/2014/main" id="{076A2663-7BC0-48F1-BD18-AA10EBD22B10}"/>
                </a:ext>
              </a:extLst>
            </p:cNvPr>
            <p:cNvSpPr txBox="1"/>
            <p:nvPr/>
          </p:nvSpPr>
          <p:spPr>
            <a:xfrm>
              <a:off x="2748774" y="2575931"/>
              <a:ext cx="5898995"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lt-LT" sz="1050">
                  <a:cs typeface="Calibri"/>
                </a:rPr>
                <a:t>Aprašyti kompetencijų reikalavimai, tačiau nėra numatytas privalomas PKT valandų skaičius.</a:t>
              </a:r>
            </a:p>
          </p:txBody>
        </p:sp>
      </p:grpSp>
      <p:sp>
        <p:nvSpPr>
          <p:cNvPr id="38" name="TextBox 37">
            <a:extLst>
              <a:ext uri="{FF2B5EF4-FFF2-40B4-BE49-F238E27FC236}">
                <a16:creationId xmlns:a16="http://schemas.microsoft.com/office/drawing/2014/main" id="{787DCCBB-04AD-45F3-814A-F0BE45E2CFE9}"/>
              </a:ext>
            </a:extLst>
          </p:cNvPr>
          <p:cNvSpPr txBox="1"/>
          <p:nvPr/>
        </p:nvSpPr>
        <p:spPr>
          <a:xfrm>
            <a:off x="407019" y="2698595"/>
            <a:ext cx="2163336"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lt-LT" sz="1050" dirty="0">
                <a:cs typeface="Calibri"/>
              </a:rPr>
              <a:t>PKT finansavimas vykdomas per mokyklas:</a:t>
            </a:r>
          </a:p>
        </p:txBody>
      </p:sp>
      <p:grpSp>
        <p:nvGrpSpPr>
          <p:cNvPr id="46" name="Group 45">
            <a:extLst>
              <a:ext uri="{FF2B5EF4-FFF2-40B4-BE49-F238E27FC236}">
                <a16:creationId xmlns:a16="http://schemas.microsoft.com/office/drawing/2014/main" id="{4313B0BC-DEAF-4320-BB35-EE66F54326B0}"/>
              </a:ext>
            </a:extLst>
          </p:cNvPr>
          <p:cNvGrpSpPr/>
          <p:nvPr/>
        </p:nvGrpSpPr>
        <p:grpSpPr>
          <a:xfrm>
            <a:off x="2843562" y="2726471"/>
            <a:ext cx="4555271" cy="390295"/>
            <a:chOff x="2720898" y="3763535"/>
            <a:chExt cx="4555271" cy="390295"/>
          </a:xfrm>
        </p:grpSpPr>
        <p:sp>
          <p:nvSpPr>
            <p:cNvPr id="40" name="Rectangle 39">
              <a:extLst>
                <a:ext uri="{FF2B5EF4-FFF2-40B4-BE49-F238E27FC236}">
                  <a16:creationId xmlns:a16="http://schemas.microsoft.com/office/drawing/2014/main" id="{DD3E6B97-7117-4711-844A-EB2B78B3936F}"/>
                </a:ext>
              </a:extLst>
            </p:cNvPr>
            <p:cNvSpPr/>
            <p:nvPr/>
          </p:nvSpPr>
          <p:spPr>
            <a:xfrm>
              <a:off x="2720898" y="3763537"/>
              <a:ext cx="1260088" cy="390293"/>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050">
                  <a:solidFill>
                    <a:schemeClr val="tx1"/>
                  </a:solidFill>
                  <a:cs typeface="Calibri"/>
                </a:rPr>
                <a:t>Švietimo ir mokslo ministerija (ŠMM)</a:t>
              </a:r>
            </a:p>
          </p:txBody>
        </p:sp>
        <p:sp>
          <p:nvSpPr>
            <p:cNvPr id="41" name="Rectangle 40">
              <a:extLst>
                <a:ext uri="{FF2B5EF4-FFF2-40B4-BE49-F238E27FC236}">
                  <a16:creationId xmlns:a16="http://schemas.microsoft.com/office/drawing/2014/main" id="{D38A1F4D-8F1E-4C4B-B6D4-7D7F9B418D3D}"/>
                </a:ext>
              </a:extLst>
            </p:cNvPr>
            <p:cNvSpPr/>
            <p:nvPr/>
          </p:nvSpPr>
          <p:spPr>
            <a:xfrm>
              <a:off x="4388004" y="3763536"/>
              <a:ext cx="1260088" cy="390293"/>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050">
                  <a:solidFill>
                    <a:schemeClr val="tx1"/>
                  </a:solidFill>
                  <a:cs typeface="Calibri"/>
                </a:rPr>
                <a:t>Mokyklos</a:t>
              </a:r>
            </a:p>
          </p:txBody>
        </p:sp>
        <p:sp>
          <p:nvSpPr>
            <p:cNvPr id="42" name="Rectangle 41">
              <a:extLst>
                <a:ext uri="{FF2B5EF4-FFF2-40B4-BE49-F238E27FC236}">
                  <a16:creationId xmlns:a16="http://schemas.microsoft.com/office/drawing/2014/main" id="{D78A8041-6EE4-4A39-9D3B-6C16E8AB8610}"/>
                </a:ext>
              </a:extLst>
            </p:cNvPr>
            <p:cNvSpPr/>
            <p:nvPr/>
          </p:nvSpPr>
          <p:spPr>
            <a:xfrm>
              <a:off x="6016081" y="3763535"/>
              <a:ext cx="1260088" cy="390293"/>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050">
                  <a:solidFill>
                    <a:schemeClr val="tx1"/>
                  </a:solidFill>
                  <a:cs typeface="Calibri"/>
                </a:rPr>
                <a:t>PKT teikėjai</a:t>
              </a:r>
            </a:p>
          </p:txBody>
        </p:sp>
        <p:sp>
          <p:nvSpPr>
            <p:cNvPr id="44" name="Isosceles Triangle 43">
              <a:extLst>
                <a:ext uri="{FF2B5EF4-FFF2-40B4-BE49-F238E27FC236}">
                  <a16:creationId xmlns:a16="http://schemas.microsoft.com/office/drawing/2014/main" id="{38727459-8AC1-488A-AFE8-9BECF06AF602}"/>
                </a:ext>
              </a:extLst>
            </p:cNvPr>
            <p:cNvSpPr/>
            <p:nvPr/>
          </p:nvSpPr>
          <p:spPr>
            <a:xfrm rot="5400000">
              <a:off x="4008099" y="3915781"/>
              <a:ext cx="371765" cy="10052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lt-LT" sz="1200">
                <a:solidFill>
                  <a:schemeClr val="tx1"/>
                </a:solidFill>
              </a:endParaRPr>
            </a:p>
          </p:txBody>
        </p:sp>
        <p:sp>
          <p:nvSpPr>
            <p:cNvPr id="45" name="Isosceles Triangle 44">
              <a:extLst>
                <a:ext uri="{FF2B5EF4-FFF2-40B4-BE49-F238E27FC236}">
                  <a16:creationId xmlns:a16="http://schemas.microsoft.com/office/drawing/2014/main" id="{59F7A564-AD83-4869-A1F3-787398A274EB}"/>
                </a:ext>
              </a:extLst>
            </p:cNvPr>
            <p:cNvSpPr/>
            <p:nvPr/>
          </p:nvSpPr>
          <p:spPr>
            <a:xfrm rot="5400000">
              <a:off x="5691932" y="3915780"/>
              <a:ext cx="371765" cy="10052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lt-LT" sz="1200">
                <a:solidFill>
                  <a:schemeClr val="tx1"/>
                </a:solidFill>
              </a:endParaRPr>
            </a:p>
          </p:txBody>
        </p:sp>
      </p:grpSp>
      <p:sp>
        <p:nvSpPr>
          <p:cNvPr id="47" name="TextBox 46">
            <a:extLst>
              <a:ext uri="{FF2B5EF4-FFF2-40B4-BE49-F238E27FC236}">
                <a16:creationId xmlns:a16="http://schemas.microsoft.com/office/drawing/2014/main" id="{48889598-272E-46E7-9D8C-9F5238F35226}"/>
              </a:ext>
            </a:extLst>
          </p:cNvPr>
          <p:cNvSpPr txBox="1"/>
          <p:nvPr/>
        </p:nvSpPr>
        <p:spPr>
          <a:xfrm>
            <a:off x="407021" y="3295186"/>
            <a:ext cx="7186960"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lt-LT" sz="1050" dirty="0">
                <a:cs typeface="Calibri"/>
              </a:rPr>
              <a:t>Centralizuotai organizuojami mokymai mokytojams yra nemokami.</a:t>
            </a:r>
            <a:endParaRPr lang="en-GB" sz="1050" dirty="0">
              <a:cs typeface="Calibri"/>
            </a:endParaRPr>
          </a:p>
        </p:txBody>
      </p:sp>
      <p:grpSp>
        <p:nvGrpSpPr>
          <p:cNvPr id="49" name="Group 48">
            <a:extLst>
              <a:ext uri="{FF2B5EF4-FFF2-40B4-BE49-F238E27FC236}">
                <a16:creationId xmlns:a16="http://schemas.microsoft.com/office/drawing/2014/main" id="{84DF5076-1DA5-4282-925D-B07553CA42E4}"/>
              </a:ext>
            </a:extLst>
          </p:cNvPr>
          <p:cNvGrpSpPr/>
          <p:nvPr/>
        </p:nvGrpSpPr>
        <p:grpSpPr>
          <a:xfrm>
            <a:off x="373231" y="3706845"/>
            <a:ext cx="8354911" cy="196824"/>
            <a:chOff x="272871" y="3027297"/>
            <a:chExt cx="8354911" cy="538935"/>
          </a:xfrm>
        </p:grpSpPr>
        <p:sp>
          <p:nvSpPr>
            <p:cNvPr id="50" name="Rectangle 49">
              <a:extLst>
                <a:ext uri="{FF2B5EF4-FFF2-40B4-BE49-F238E27FC236}">
                  <a16:creationId xmlns:a16="http://schemas.microsoft.com/office/drawing/2014/main" id="{DBF40C3F-D451-490C-B81C-F85C1737C158}"/>
                </a:ext>
              </a:extLst>
            </p:cNvPr>
            <p:cNvSpPr/>
            <p:nvPr/>
          </p:nvSpPr>
          <p:spPr>
            <a:xfrm>
              <a:off x="272871" y="3027297"/>
              <a:ext cx="1944216" cy="394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a:solidFill>
                    <a:schemeClr val="tx1"/>
                  </a:solidFill>
                </a:rPr>
                <a:t>Bendradarbiavimas</a:t>
              </a:r>
            </a:p>
          </p:txBody>
        </p:sp>
        <p:cxnSp>
          <p:nvCxnSpPr>
            <p:cNvPr id="51" name="Straight Arrow Connector 50">
              <a:extLst>
                <a:ext uri="{FF2B5EF4-FFF2-40B4-BE49-F238E27FC236}">
                  <a16:creationId xmlns:a16="http://schemas.microsoft.com/office/drawing/2014/main" id="{7479AB89-6B83-46C1-96CB-2EA50C2AC17B}"/>
                </a:ext>
              </a:extLst>
            </p:cNvPr>
            <p:cNvCxnSpPr>
              <a:cxnSpLocks/>
            </p:cNvCxnSpPr>
            <p:nvPr/>
          </p:nvCxnSpPr>
          <p:spPr>
            <a:xfrm>
              <a:off x="279374" y="3560928"/>
              <a:ext cx="8348408" cy="5304"/>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53" name="TextBox 52">
            <a:extLst>
              <a:ext uri="{FF2B5EF4-FFF2-40B4-BE49-F238E27FC236}">
                <a16:creationId xmlns:a16="http://schemas.microsoft.com/office/drawing/2014/main" id="{A347CF0E-C2E2-44BD-81B2-6E6C77E718A9}"/>
              </a:ext>
            </a:extLst>
          </p:cNvPr>
          <p:cNvSpPr txBox="1"/>
          <p:nvPr/>
        </p:nvSpPr>
        <p:spPr>
          <a:xfrm>
            <a:off x="377886" y="3903896"/>
            <a:ext cx="8369463"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indent="-285750">
              <a:buClr>
                <a:schemeClr val="accent6"/>
              </a:buClr>
              <a:buFont typeface="Arial" panose="020B0604020202020204" pitchFamily="34" charset="0"/>
              <a:buChar char="•"/>
            </a:pPr>
            <a:r>
              <a:rPr lang="lt-LT" sz="1050" dirty="0">
                <a:cs typeface="Calibri"/>
              </a:rPr>
              <a:t>Švietimo ir mokslo ministerija į nacionalinių PKT prioritetų nustatymo procesą įtraukia aukštųjų mokyklų atstovus</a:t>
            </a:r>
            <a:endParaRPr lang="en-US" sz="1050" dirty="0"/>
          </a:p>
          <a:p>
            <a:pPr indent="-285750">
              <a:buClr>
                <a:schemeClr val="accent6"/>
              </a:buClr>
              <a:buFont typeface="Arial" panose="020B0604020202020204" pitchFamily="34" charset="0"/>
              <a:buChar char="•"/>
            </a:pPr>
            <a:r>
              <a:rPr lang="lt-LT" sz="1050" dirty="0">
                <a:cs typeface="Calibri"/>
              </a:rPr>
              <a:t>Aukštosios mokyklos teikia Švietimo, mokslo ir mokslo ministerijai pasiūlymus dėl PKT veiklų</a:t>
            </a:r>
          </a:p>
          <a:p>
            <a:pPr indent="-285750">
              <a:buClr>
                <a:schemeClr val="accent6"/>
              </a:buClr>
              <a:buFont typeface="Arial" panose="020B0604020202020204" pitchFamily="34" charset="0"/>
              <a:buChar char="•"/>
            </a:pPr>
            <a:r>
              <a:rPr lang="lt-LT" sz="1050" dirty="0">
                <a:cs typeface="Calibri"/>
              </a:rPr>
              <a:t>Aukštosios mokyklos bendradarbiaudamos su ugdymo įstaigomis plėtoja šių įstaigų vadovų ir pedagogų įsivertinimo ir PKT planavimo priemones</a:t>
            </a:r>
          </a:p>
          <a:p>
            <a:pPr indent="-285750">
              <a:buClr>
                <a:schemeClr val="accent6"/>
              </a:buClr>
              <a:buFont typeface="Arial" panose="020B0604020202020204" pitchFamily="34" charset="0"/>
              <a:buChar char="•"/>
            </a:pPr>
            <a:r>
              <a:rPr lang="lt-LT" sz="1050" dirty="0">
                <a:cs typeface="Calibri"/>
              </a:rPr>
              <a:t>Aukštosios mokyklos, pagal poreikį, ugdymo įstaigoms rengia konkrečias PKT veiklas pagal šių mokyklų PKT poreikius</a:t>
            </a:r>
          </a:p>
        </p:txBody>
      </p:sp>
      <p:grpSp>
        <p:nvGrpSpPr>
          <p:cNvPr id="55" name="Group 54">
            <a:extLst>
              <a:ext uri="{FF2B5EF4-FFF2-40B4-BE49-F238E27FC236}">
                <a16:creationId xmlns:a16="http://schemas.microsoft.com/office/drawing/2014/main" id="{5B2FD58A-EAAC-43F0-8CA6-AA65447DAAD0}"/>
              </a:ext>
            </a:extLst>
          </p:cNvPr>
          <p:cNvGrpSpPr/>
          <p:nvPr/>
        </p:nvGrpSpPr>
        <p:grpSpPr>
          <a:xfrm>
            <a:off x="417835" y="4718488"/>
            <a:ext cx="8354911" cy="244796"/>
            <a:chOff x="272871" y="3146169"/>
            <a:chExt cx="8354911" cy="244796"/>
          </a:xfrm>
        </p:grpSpPr>
        <p:sp>
          <p:nvSpPr>
            <p:cNvPr id="56" name="Rectangle 55">
              <a:extLst>
                <a:ext uri="{FF2B5EF4-FFF2-40B4-BE49-F238E27FC236}">
                  <a16:creationId xmlns:a16="http://schemas.microsoft.com/office/drawing/2014/main" id="{99A6280F-9012-4AE6-831B-39CCCB519AE5}"/>
                </a:ext>
              </a:extLst>
            </p:cNvPr>
            <p:cNvSpPr/>
            <p:nvPr/>
          </p:nvSpPr>
          <p:spPr>
            <a:xfrm>
              <a:off x="272871" y="3146169"/>
              <a:ext cx="1944216" cy="2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lt-LT" sz="1200" b="1" dirty="0">
                  <a:solidFill>
                    <a:schemeClr val="tx1"/>
                  </a:solidFill>
                </a:rPr>
                <a:t>PKT poreikių vertinimas</a:t>
              </a:r>
            </a:p>
          </p:txBody>
        </p:sp>
        <p:cxnSp>
          <p:nvCxnSpPr>
            <p:cNvPr id="57" name="Straight Arrow Connector 56">
              <a:extLst>
                <a:ext uri="{FF2B5EF4-FFF2-40B4-BE49-F238E27FC236}">
                  <a16:creationId xmlns:a16="http://schemas.microsoft.com/office/drawing/2014/main" id="{2E7D0B68-8DDA-4071-8C8E-E619D7F3F1CF}"/>
                </a:ext>
              </a:extLst>
            </p:cNvPr>
            <p:cNvCxnSpPr>
              <a:cxnSpLocks/>
            </p:cNvCxnSpPr>
            <p:nvPr/>
          </p:nvCxnSpPr>
          <p:spPr>
            <a:xfrm>
              <a:off x="279374" y="3385662"/>
              <a:ext cx="8348408" cy="5303"/>
            </a:xfrm>
            <a:prstGeom prst="straightConnector1">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60" name="Rectangle 59">
            <a:extLst>
              <a:ext uri="{FF2B5EF4-FFF2-40B4-BE49-F238E27FC236}">
                <a16:creationId xmlns:a16="http://schemas.microsoft.com/office/drawing/2014/main" id="{BCE3AAE7-D6B4-43D1-B29C-1016ADA97EB2}"/>
              </a:ext>
            </a:extLst>
          </p:cNvPr>
          <p:cNvSpPr/>
          <p:nvPr/>
        </p:nvSpPr>
        <p:spPr>
          <a:xfrm>
            <a:off x="391625" y="5039663"/>
            <a:ext cx="2225928" cy="1867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Nacionaliniai</a:t>
            </a:r>
          </a:p>
        </p:txBody>
      </p:sp>
      <p:sp>
        <p:nvSpPr>
          <p:cNvPr id="62" name="Rectangle 61">
            <a:extLst>
              <a:ext uri="{FF2B5EF4-FFF2-40B4-BE49-F238E27FC236}">
                <a16:creationId xmlns:a16="http://schemas.microsoft.com/office/drawing/2014/main" id="{AE0E76A9-A998-4725-8A2E-B6F1E5CD3A22}"/>
              </a:ext>
            </a:extLst>
          </p:cNvPr>
          <p:cNvSpPr/>
          <p:nvPr/>
        </p:nvSpPr>
        <p:spPr>
          <a:xfrm>
            <a:off x="6803133" y="5033653"/>
            <a:ext cx="1944216" cy="1867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Pedagogų</a:t>
            </a:r>
          </a:p>
        </p:txBody>
      </p:sp>
      <p:sp>
        <p:nvSpPr>
          <p:cNvPr id="64" name="Rectangle 63">
            <a:extLst>
              <a:ext uri="{FF2B5EF4-FFF2-40B4-BE49-F238E27FC236}">
                <a16:creationId xmlns:a16="http://schemas.microsoft.com/office/drawing/2014/main" id="{4AF32163-B136-45B2-9975-AA50D434CED3}"/>
              </a:ext>
            </a:extLst>
          </p:cNvPr>
          <p:cNvSpPr/>
          <p:nvPr/>
        </p:nvSpPr>
        <p:spPr>
          <a:xfrm>
            <a:off x="394172" y="5272462"/>
            <a:ext cx="2231504" cy="8827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chemeClr val="tx1"/>
                </a:solidFill>
              </a:rPr>
              <a:t>ŠMM su partneriais ir atsižvelgdama į įv. tyrimų rezultatus, nustato PKT prioritetus. </a:t>
            </a:r>
          </a:p>
        </p:txBody>
      </p:sp>
      <p:sp>
        <p:nvSpPr>
          <p:cNvPr id="66" name="Rectangle 65">
            <a:extLst>
              <a:ext uri="{FF2B5EF4-FFF2-40B4-BE49-F238E27FC236}">
                <a16:creationId xmlns:a16="http://schemas.microsoft.com/office/drawing/2014/main" id="{FD1C34E6-C313-46D2-BA44-B8D6766162CA}"/>
              </a:ext>
            </a:extLst>
          </p:cNvPr>
          <p:cNvSpPr/>
          <p:nvPr/>
        </p:nvSpPr>
        <p:spPr>
          <a:xfrm>
            <a:off x="4748997" y="5272464"/>
            <a:ext cx="1944898" cy="882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just"/>
            <a:r>
              <a:rPr lang="lt-LT" sz="1050" noProof="1">
                <a:solidFill>
                  <a:schemeClr val="tx1"/>
                </a:solidFill>
              </a:rPr>
              <a:t>Mokyklų vadovai tvirtina pedagogų pasirinktas PKT veiklas, aptariamas mokytojų veiklos vertinimo metu.</a:t>
            </a:r>
          </a:p>
        </p:txBody>
      </p:sp>
      <p:sp>
        <p:nvSpPr>
          <p:cNvPr id="68" name="Rectangle 67">
            <a:extLst>
              <a:ext uri="{FF2B5EF4-FFF2-40B4-BE49-F238E27FC236}">
                <a16:creationId xmlns:a16="http://schemas.microsoft.com/office/drawing/2014/main" id="{DC51C86B-4691-48DF-8125-FC5AA5B851D0}"/>
              </a:ext>
            </a:extLst>
          </p:cNvPr>
          <p:cNvSpPr/>
          <p:nvPr/>
        </p:nvSpPr>
        <p:spPr>
          <a:xfrm>
            <a:off x="6808708" y="5274070"/>
            <a:ext cx="1944898" cy="8827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chemeClr val="tx1"/>
                </a:solidFill>
              </a:rPr>
              <a:t>Patys pedagogai įsivertina savo PKT poreikius ir pasirenka PKT veiklas bendradarbiaujant su ugdymo įstaigos vadovu.</a:t>
            </a:r>
          </a:p>
        </p:txBody>
      </p:sp>
      <p:sp>
        <p:nvSpPr>
          <p:cNvPr id="70" name="Rectangle 69">
            <a:extLst>
              <a:ext uri="{FF2B5EF4-FFF2-40B4-BE49-F238E27FC236}">
                <a16:creationId xmlns:a16="http://schemas.microsoft.com/office/drawing/2014/main" id="{FE0ED578-935C-4054-BC99-28C242DCB930}"/>
              </a:ext>
            </a:extLst>
          </p:cNvPr>
          <p:cNvSpPr/>
          <p:nvPr/>
        </p:nvSpPr>
        <p:spPr>
          <a:xfrm>
            <a:off x="2726086" y="5033654"/>
            <a:ext cx="1932723" cy="1867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Savivaldos</a:t>
            </a:r>
          </a:p>
        </p:txBody>
      </p:sp>
      <p:sp>
        <p:nvSpPr>
          <p:cNvPr id="72" name="Rectangle 71">
            <a:extLst>
              <a:ext uri="{FF2B5EF4-FFF2-40B4-BE49-F238E27FC236}">
                <a16:creationId xmlns:a16="http://schemas.microsoft.com/office/drawing/2014/main" id="{4FEE95EE-976C-42C6-A9A7-26ECEE6DCBFD}"/>
              </a:ext>
            </a:extLst>
          </p:cNvPr>
          <p:cNvSpPr/>
          <p:nvPr/>
        </p:nvSpPr>
        <p:spPr>
          <a:xfrm>
            <a:off x="4750384" y="5033654"/>
            <a:ext cx="1944216" cy="18676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ts val="1700"/>
              </a:lnSpc>
            </a:pPr>
            <a:r>
              <a:rPr lang="lt-LT" sz="1050" noProof="1">
                <a:solidFill>
                  <a:schemeClr val="tx1"/>
                </a:solidFill>
              </a:rPr>
              <a:t>Švietimo įstaigos</a:t>
            </a:r>
          </a:p>
        </p:txBody>
      </p:sp>
      <p:sp>
        <p:nvSpPr>
          <p:cNvPr id="74" name="Rectangle 73">
            <a:extLst>
              <a:ext uri="{FF2B5EF4-FFF2-40B4-BE49-F238E27FC236}">
                <a16:creationId xmlns:a16="http://schemas.microsoft.com/office/drawing/2014/main" id="{6BA1FD68-7BC3-4236-A28F-1942BBE36A92}"/>
              </a:ext>
            </a:extLst>
          </p:cNvPr>
          <p:cNvSpPr/>
          <p:nvPr/>
        </p:nvSpPr>
        <p:spPr>
          <a:xfrm>
            <a:off x="2723763" y="5272465"/>
            <a:ext cx="1938298" cy="8771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lt-LT" sz="1050" noProof="1">
                <a:solidFill>
                  <a:schemeClr val="tx1"/>
                </a:solidFill>
              </a:rPr>
              <a:t>Gali nusimatyti papildomas sritis, kurios yra aktualios savivaldai.</a:t>
            </a:r>
          </a:p>
        </p:txBody>
      </p:sp>
    </p:spTree>
    <p:extLst>
      <p:ext uri="{BB962C8B-B14F-4D97-AF65-F5344CB8AC3E}">
        <p14:creationId xmlns:p14="http://schemas.microsoft.com/office/powerpoint/2010/main" val="11539538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ZelTtoSsEWU5NhuHLP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ZelTtoSsEWU5NhuHLP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heme/theme1.xml><?xml version="1.0" encoding="utf-8"?>
<a:theme xmlns:a="http://schemas.openxmlformats.org/drawingml/2006/main" name="Office tema">
  <a:themeElements>
    <a:clrScheme name="SC colors">
      <a:dk1>
        <a:sysClr val="windowText" lastClr="000000"/>
      </a:dk1>
      <a:lt1>
        <a:sysClr val="window" lastClr="FFFFFF"/>
      </a:lt1>
      <a:dk2>
        <a:srgbClr val="DB1D1D"/>
      </a:dk2>
      <a:lt2>
        <a:srgbClr val="71C9E1"/>
      </a:lt2>
      <a:accent1>
        <a:srgbClr val="020B33"/>
      </a:accent1>
      <a:accent2>
        <a:srgbClr val="124566"/>
      </a:accent2>
      <a:accent3>
        <a:srgbClr val="227EB2"/>
      </a:accent3>
      <a:accent4>
        <a:srgbClr val="666666"/>
      </a:accent4>
      <a:accent5>
        <a:srgbClr val="A4A4A4"/>
      </a:accent5>
      <a:accent6>
        <a:srgbClr val="F2CB29"/>
      </a:accent6>
      <a:hlink>
        <a:srgbClr val="D49A23"/>
      </a:hlink>
      <a:folHlink>
        <a:srgbClr val="E45F2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as" ma:contentTypeID="0x010100149875867A94D24C97D3673D8ECB2620" ma:contentTypeVersion="14" ma:contentTypeDescription="Kurkite naują dokumentą." ma:contentTypeScope="" ma:versionID="53893fb3353203ab9b235f5dd6b86eac">
  <xsd:schema xmlns:xsd="http://www.w3.org/2001/XMLSchema" xmlns:xs="http://www.w3.org/2001/XMLSchema" xmlns:p="http://schemas.microsoft.com/office/2006/metadata/properties" xmlns:ns3="441e4d8e-a8ab-46be-9694-e40af28e9c61" xmlns:ns4="bd2a18c2-06d4-44cd-af38-3237b532008a" targetNamespace="http://schemas.microsoft.com/office/2006/metadata/properties" ma:root="true" ma:fieldsID="50851e527db6c09821fabe091c51f460" ns3:_="" ns4:_="">
    <xsd:import namespace="441e4d8e-a8ab-46be-9694-e40af28e9c61"/>
    <xsd:import namespace="bd2a18c2-06d4-44cd-af38-3237b532008a"/>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ServiceOCR"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1e4d8e-a8ab-46be-9694-e40af28e9c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d2a18c2-06d4-44cd-af38-3237b532008a" elementFormDefault="qualified">
    <xsd:import namespace="http://schemas.microsoft.com/office/2006/documentManagement/types"/>
    <xsd:import namespace="http://schemas.microsoft.com/office/infopath/2007/PartnerControls"/>
    <xsd:element name="SharedWithUsers" ma:index="18" nillable="true" ma:displayName="Bendrinama s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Bendrinta su išsamia informacija" ma:internalName="SharedWithDetails" ma:readOnly="true">
      <xsd:simpleType>
        <xsd:restriction base="dms:Note">
          <xsd:maxLength value="255"/>
        </xsd:restriction>
      </xsd:simpleType>
    </xsd:element>
    <xsd:element name="SharingHintHash" ma:index="20" nillable="true" ma:displayName="Bendrinimo užuominos maiša"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urinio tipas"/>
        <xsd:element ref="dc:title" minOccurs="0" maxOccurs="1" ma:index="4" ma:displayName="Antraštė"/>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403C68C-8820-4311-AC64-07496D0DE8B4}">
  <ds:schemaRefs>
    <ds:schemaRef ds:uri="http://schemas.microsoft.com/sharepoint/v3/contenttype/forms"/>
  </ds:schemaRefs>
</ds:datastoreItem>
</file>

<file path=customXml/itemProps2.xml><?xml version="1.0" encoding="utf-8"?>
<ds:datastoreItem xmlns:ds="http://schemas.openxmlformats.org/officeDocument/2006/customXml" ds:itemID="{45BF7DE0-22BE-4BEC-BEEB-5C72CDB2F0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1e4d8e-a8ab-46be-9694-e40af28e9c61"/>
    <ds:schemaRef ds:uri="bd2a18c2-06d4-44cd-af38-3237b53200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5D7B9F-328D-4F75-B74B-D4ABD18F57DB}">
  <ds:schemaRefs>
    <ds:schemaRef ds:uri="http://schemas.microsoft.com/office/infopath/2007/PartnerControls"/>
    <ds:schemaRef ds:uri="http://www.w3.org/XML/1998/namespace"/>
    <ds:schemaRef ds:uri="441e4d8e-a8ab-46be-9694-e40af28e9c61"/>
    <ds:schemaRef ds:uri="http://purl.org/dc/terms/"/>
    <ds:schemaRef ds:uri="http://schemas.microsoft.com/office/2006/documentManagement/types"/>
    <ds:schemaRef ds:uri="http://schemas.openxmlformats.org/package/2006/metadata/core-properties"/>
    <ds:schemaRef ds:uri="http://purl.org/dc/elements/1.1/"/>
    <ds:schemaRef ds:uri="bd2a18c2-06d4-44cd-af38-3237b532008a"/>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32</TotalTime>
  <Words>4500</Words>
  <Application>Microsoft Office PowerPoint</Application>
  <PresentationFormat>Demonstracija ekrane (4:3)</PresentationFormat>
  <Paragraphs>583</Paragraphs>
  <Slides>30</Slides>
  <Notes>21</Notes>
  <HiddenSlides>0</HiddenSlides>
  <MMClips>0</MMClips>
  <ScaleCrop>false</ScaleCrop>
  <HeadingPairs>
    <vt:vector size="6" baseType="variant">
      <vt:variant>
        <vt:lpstr>Naudojami šriftai</vt:lpstr>
      </vt:variant>
      <vt:variant>
        <vt:i4>7</vt:i4>
      </vt:variant>
      <vt:variant>
        <vt:lpstr>Tema</vt:lpstr>
      </vt:variant>
      <vt:variant>
        <vt:i4>1</vt:i4>
      </vt:variant>
      <vt:variant>
        <vt:lpstr>Skaidrių pavadinimai</vt:lpstr>
      </vt:variant>
      <vt:variant>
        <vt:i4>30</vt:i4>
      </vt:variant>
    </vt:vector>
  </HeadingPairs>
  <TitlesOfParts>
    <vt:vector size="38" baseType="lpstr">
      <vt:lpstr>Arial</vt:lpstr>
      <vt:lpstr>Avenir Next Demi Bold</vt:lpstr>
      <vt:lpstr>Avenir Next Regular</vt:lpstr>
      <vt:lpstr>Calibri</vt:lpstr>
      <vt:lpstr>Cambria</vt:lpstr>
      <vt:lpstr>Myanmar Text</vt:lpstr>
      <vt:lpstr>Times New Roman</vt:lpstr>
      <vt:lpstr>Office tema</vt:lpstr>
      <vt:lpstr>Aukštųjų mokyklų, vykdančių pedagogų rengimo programas, galimybių ir vaidmens užtikrinant pedagogų kvalifikacijos tobulinimo kokybę tyrimo paslaugos</vt:lpstr>
      <vt:lpstr>Turinys </vt:lpstr>
      <vt:lpstr>Tyrimo tikslas ir uždaviniai </vt:lpstr>
      <vt:lpstr>Taikyti metodai </vt:lpstr>
      <vt:lpstr>Interviu respondentai</vt:lpstr>
      <vt:lpstr>PKT reglamentavimas</vt:lpstr>
      <vt:lpstr>PKT planavimas</vt:lpstr>
      <vt:lpstr>PKT programų rengimas, vykdymas, kokybės užtikrinimas. PKT stebėsena</vt:lpstr>
      <vt:lpstr>Estijos PKT sistema (1 /2 )                                     </vt:lpstr>
      <vt:lpstr>Estijos PKT sistema (1 /2 )</vt:lpstr>
      <vt:lpstr>Suomijos PKT sistema (1 / 2)</vt:lpstr>
      <vt:lpstr>Suomijos PKT sistema (2 / 2)</vt:lpstr>
      <vt:lpstr>„PowerPoint“ pateiktis</vt:lpstr>
      <vt:lpstr>Nyderlandų PKT sistema (2 / 2)</vt:lpstr>
      <vt:lpstr>Airijos PKT sistema (1 / 2)</vt:lpstr>
      <vt:lpstr>Airijos PKT sistema (2 / 2)</vt:lpstr>
      <vt:lpstr>Lietuvos ir analizuotų užsienio šalių PKT sistemų palyginimas</vt:lpstr>
      <vt:lpstr>„PowerPoint“ pateiktis</vt:lpstr>
      <vt:lpstr>Lietuvos aukštųjų mokyklų / pedagogų rengimo centrų ir kitų PKT teikėjų funkcijų palyginimas</vt:lpstr>
      <vt:lpstr>Išvados (1 / 3)</vt:lpstr>
      <vt:lpstr>Išvados (2 / 3)</vt:lpstr>
      <vt:lpstr>Išvados (3 / 3)</vt:lpstr>
      <vt:lpstr>Pasiūlymai dėl Lietuvos aukštųjų mokyklų / pedagogų rengimo centrų vykdomų funkcijų plėtros</vt:lpstr>
      <vt:lpstr>Rekomendacijos reglamentavimui ir finansavimui</vt:lpstr>
      <vt:lpstr>Rekomendacijos poreikių vertinimui (1 / 2)</vt:lpstr>
      <vt:lpstr>Rekomendacijos poreikių vertinimui (2 / 2)</vt:lpstr>
      <vt:lpstr>Rekomendacijos programų rengimui ir vykdymui</vt:lpstr>
      <vt:lpstr>Rekomendacijos kokybės užtikrinimui</vt:lpstr>
      <vt:lpstr>Rekomendacijos stebėsenai</vt:lpstr>
      <vt:lpstr>„PowerPoint“ pateikti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Šiuo metu Lietuvoje gaminami tik I kartos biodegalai, kurių didžioji dalis (72%) eksportuojama</dc:title>
  <dc:creator>AJ</dc:creator>
  <cp:lastModifiedBy>UMF</cp:lastModifiedBy>
  <cp:revision>2</cp:revision>
  <dcterms:created xsi:type="dcterms:W3CDTF">2016-09-25T10:45:53Z</dcterms:created>
  <dcterms:modified xsi:type="dcterms:W3CDTF">2022-03-07T14:0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9875867A94D24C97D3673D8ECB2620</vt:lpwstr>
  </property>
</Properties>
</file>